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5"/>
  </p:notesMasterIdLst>
  <p:handoutMasterIdLst>
    <p:handoutMasterId r:id="rId6"/>
  </p:handoutMasterIdLst>
  <p:sldIdLst>
    <p:sldId id="3699" r:id="rId3"/>
    <p:sldId id="7856" r:id="rId4"/>
  </p:sldIdLst>
  <p:sldSz cx="12192000" cy="6858000"/>
  <p:notesSz cx="7102475" cy="9388475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21" autoAdjust="0"/>
  </p:normalViewPr>
  <p:slideViewPr>
    <p:cSldViewPr snapToGrid="0" snapToObjects="1">
      <p:cViewPr>
        <p:scale>
          <a:sx n="110" d="100"/>
          <a:sy n="110" d="100"/>
        </p:scale>
        <p:origin x="49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0 Dec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48.48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479 510 9130,'-40'-12'906,"0"2"-1,-1 1 1,-7 1-906,-8 2-77,-1 2-1,1 3 1,-39 4 77,1 6-723,2 4 0,-1 5 0,-59 20 723,45-6-267,2 4 1,1 5-1,3 5 0,1 4 0,3 4 1,2 5-1,-66 54 267,127-85 36,1 1 0,1 1 0,2 2 0,1 1 0,2 1 1,1 2-1,2 0 0,1 2 0,2 0 0,1 2 0,3 0 0,-3 11-36,10-21 32,1 0 0,2 0 1,1 1-1,1-1 0,2 1 0,1 0 0,1 1 1,2-1-1,1 0 0,1 0 0,2 0 0,1-1 0,2 0 1,0 0-1,2 0 0,2-1 0,10 20-32,-3-16 44,0 0-1,3-2 0,0-1 1,2 0-1,1-2 1,1-1-1,2-1 1,0-1-1,4 0-43,10 6 30,2-3 0,0-1 0,2-3-1,1-1 1,1-3 0,20 5-30,8-1 74,2-4 1,0-4-1,2-2 0,-1-5 1,1-2-1,0-5 0,1-2 0,51-9-74,-40-3 288,0-3 0,-1-5 0,-1-3 0,0-4 0,-3-4 0,0-4-1,-3-4 1,-1-3 0,-2-4 0,-2-3 0,14-16-288,-30 17 224,-2-2 0,-2-4 1,-2-1-1,-3-3 0,-3-3 1,-2-2-1,-3-1 0,-3-3 1,-3-2-1,-3-1 0,-3-1 1,-3-3-1,4-23-224,-24 62 28,-1-1 0,-2 0 0,-1 0 0,-2 0-1,-2-1 1,-1 0 0,-2 1 0,-1-1 0,-3 0 0,0 1 0,-2 0 0,-2 0-1,-1 0 1,-2 1 0,-2 0 0,-1 1 0,-1 1 0,-2 0 0,-1 1-1,-5-4-27,-6-4 3,-1 1 0,-2 2 0,-1 1-1,-2 1 1,-2 3 0,-1 0-1,-1 3 1,-1 1 0,-39-19-3,31 22-27,-1 3 1,-1 2 0,0 2-1,-2 3 1,0 1-1,-1 3 1,0 2 0,0 3-1,-3 2 27,-60 1-149,0 5-1,0 5 1,1 6 0,0 4 0,2 5-1,0 6 1,-34 15 149,-47 25-1037,2 8 0,5 8 1,-130 81 1036,-14 38-2257,9 18 92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0.585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5 6025,'0'0'126,"0"0"-1,0 0 0,0-1 0,0 1 1,0 0-1,0 0 0,0 0 1,1-1-1,-1 1 0,0 0 0,0 0 1,0 0-1,0-1 0,0 1 0,0 0 1,1 0-1,-1 0 0,0 0 1,0-1-1,0 1 0,0 0 0,1 0 1,-1 0-1,0 0 0,0 0 1,0 0-1,1 0 0,-1-1 0,0 1 1,0 0-1,1 0 0,-1 0 0,0 0 1,0 0-1,0 0 0,1 0 1,-1 0-1,0 0 0,0 0 0,1 0 1,-1 1-1,0-1 0,0 0 0,0 0 1,1 0-1,-1 0 0,0 0 1,0 0-1,0 0 0,1 0 0,-1 1 1,0-1-1,0 0 0,0 0 1,0 0-1,1 0 0,-1 1 0,0-1 1,0 0-1,0 0-125,10 23 2480,4 39-2390,-12-55 403,11 57 569,10 22-1062,-16-66 151,0 0-1,1 0 1,0-1 0,2 0 0,1-1 0,5 8-151,-13-22 16,0 0 0,0-1 0,0 1 0,1-1 1,-1 0-1,1 0 0,0 0 0,0-1 0,0 1 0,0-1 0,0 0 0,0 0 1,1 0-1,-1-1 0,0 1 0,1-1 0,0 0 0,-1-1 0,1 1 0,0-1 1,-1 0-1,1 0 0,0 0 0,-1-1 0,1 1 0,-1-1 0,1 0 0,-1-1 1,1 1-1,-1-1 0,5-2-16,12-6 192,1-1 1,-2-2-1,1 0 1,-2-1-1,13-11-192,-25 19 73,26-23 202,-2-1-1,-1-2 1,-2 0-1,1-4-274,9-10 125,-34 40-94,2 1 1,-1 0-1,1-1 0,-1 2 1,1-1-1,6-3-31,-10 7-184,1 0 0,-1-1 1,1 1-1,-1 0 0,1 0 0,-1 0 0,1 1 0,0-1 1,0 1-1,-1-1 0,1 1 0,0 0 0,0 0 1,-1 0-1,1 1 0,0-1 0,0 0 0,1 2 184,2 5-1277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1.84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4 54 5633,'-10'-54'3097,"10"71"-1073,1 11-367,1 10-105,-2 12-680,0 10-208,0 13-272,-2 7-80,-1-1-136,2-2-47,1-16-65,1-8-8,4-16-40,-2-4-8,1-12-377,-2-4-431,-2-8-2120,0-7 1895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2.21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209 5969,'3'-11'1154,"1"-1"0,1 1-1,0-1 1,0 1 0,7-10-1154,-5 13 361,-1 0 0,1 0 0,0 0 0,1 1 0,0 0 0,0 0 0,1 1 0,-1 0 1,1 0-1,9-3-361,0 0 199,1 1 0,0 1-1,0 1 1,1 0 0,0 1 0,0 2 0,0 0 0,0 1 0,0 0 0,1 2 0,13 2-199,-22-2 91,-1 1 0,0 1 0,1 0 0,-1 1 0,0 0-1,0 0 1,0 1 0,-1 1 0,0 0 0,1 0 0,-2 1 0,1 0 0,-1 1-1,1 0 1,-2 0 0,1 1 0,-1 0 0,-1 1 0,1 0 0,-1 0 0,0 2-92,-4-7 32,-1 0 0,1 0-1,-1 1 1,0-1 0,-1 1-1,1-1 1,-1 1-1,0 0 1,0-1 0,0 1-1,-1 0 1,0 0-1,0-1 1,0 1 0,0 0-1,-1 0 1,1 0-1,-2 3-30,-1-3 20,1 1-1,-1-1 0,0 1 1,0-1-1,0 0 0,-1 0 1,0 0-1,0-1 0,0 1 0,0-1 1,-1 0-1,0 0 0,0 0-19,-17 10 29,0-2-1,0 0 0,-1-1 0,0-2 0,-1 0 0,-7 0-28,20-5-91,-24 8-517,1-2 0,-2-1 0,1-2 0,-17 1 608,39-8-2404,14-3 1014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2.57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83 0 5393,'-12'2'3289,"8"19"600,-2 6-2097,3 15-88,-2 10-439,-2 13-657,2 4-144,-8 3-184,2 5-96,2 5-104,8-1-40,-1-7-32,-2-8-8,7-23-376,-2-5-400,8-14-1977,9-6 1793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2.91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34 351 6529,'112'-112'2984,"-108"108"-2701,1-1 0,-1 1 0,1 1 0,0-1 0,1 0 0,-1 1 0,1 0 0,-1 1 0,1-1 0,4 0-283,10-5 1009,-11 3-659,-1 0-1,1-1 1,-1 0-1,0 0 1,0-1-1,-1 0 1,0 0-1,0-1 1,0 0-1,3-6-349,-9 12 55,1-1 0,-1 1 0,0-1 0,0 1-1,0-1 1,0 1 0,-1-1 0,1 0 0,-1 1-1,1-1 1,-1 0 0,0 0 0,0 1 0,0-1 0,0 0-1,-1 0 1,0 0-55,0-1 59,0 1 0,-1 0 0,1 0-1,-1 0 1,0 1 0,0-1 0,0 0 0,0 1-1,-1-1 1,1 1 0,-1 0 0,1-1 0,-1 1-1,0 1 1,0-1 0,0 0 0,-2 0-59,0-1 41,0 0-1,-1 0 1,0 1 0,1 0 0,-1 0 0,0 1 0,0-1 0,0 1 0,0 0 0,0 1 0,0 0-1,0 0 1,0 0 0,0 0 0,0 1 0,0 0 0,-4 2-41,2-1 8,1 1-1,0 1 1,0-1 0,1 1-1,-1 0 1,1 1 0,0-1 0,0 1-1,0 1 1,1-1 0,0 1-1,-3 4-7,-4 5-17,2 1-1,0 1 0,2-1 0,-1 1 0,2 1 0,0 0 1,1 0-1,1 0 0,1 0 0,-2 15 18,4-19-6,1 1 0,1-1 0,0 0 0,1 1-1,0-1 1,1 0 0,1 0 0,0 0 0,4 9 6,-5-18-55,-1-1-1,1 1 1,0-1 0,0 0 0,1 0-1,0 0 1,-1 0 0,1 0-1,0 0 1,1-1 0,-1 0 0,1 1-1,-1-1 1,1 0 0,0-1-1,0 1 1,1-1 0,-1 0 0,0 0-1,1 0 1,-1-1 0,1 1-1,-1-1 1,1 0 0,0 0 0,0-1-1,-1 1 1,1-1 0,0 0-1,2-1 56,6 0-659,0-1 0,0 0 0,-1-1-1,1-1 1,-1 0 0,2-1 659,39-17-1444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3.29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11 7 5137,'-4'-2'640,"-1"1"0,0 0 0,0 0 0,1 0 0,-1 1 0,0-1 0,0 1 0,0 0 0,0 1 0,1-1 0,-1 1 0,0 0 0,0 0 0,1 0 0,-4 2-640,2 0 173,1 0 1,0 1 0,0-1-1,0 1 1,0 0 0,0 1 0,1-1-1,0 1 1,0 0 0,0 0-1,1 0 1,-1 1-174,-6 9 82,1 0-1,0 1 1,1 1 0,1-1-1,1 1 1,0 0-1,1 1 1,1-1 0,1 1-1,0 0 1,1 0 0,1 0-1,1 0 1,1 0 0,0 0-1,1 0 1,1 0 0,4 13-82,-7-29-3,1 0 1,-1 0 0,0 0-1,1 0 1,-1 0 0,1 0-1,0 0 1,0 0 0,0-1 0,0 1-1,0 0 1,0 0 0,0-1-1,1 1 1,-1-1 0,1 1-1,-1-1 1,1 1 0,-1-1 0,1 0-1,0 0 1,0 0 0,-1 0-1,1 0 1,0 0 0,0 0-1,0-1 1,0 1 0,0-1-1,0 0 1,0 1 0,0-1 0,0 0-1,0 0 1,1 0 0,-1 0-1,0-1 1,0 1 0,0 0-1,0-1 3,3-1-4,0 0 0,0-1 0,0 1 0,0-1 0,-1 0 0,1-1 0,-1 1 0,0-1 0,0 1 0,0-1-1,0 0 1,-1-1 0,1 1 0,1-4 4,8-19 0,0 0 0,-2-1-1,-1 0 1,-1-1 0,0-6 0,12-38 19,-16 59 5,-1 0 1,0 0-1,-1-1 1,-1 0-1,0-11-24,-24 79 119,16-26-84,1-1 0,2 2 0,0-1 0,2 0 1,0 1-1,2-1 0,2 0 0,0 1 0,4 11-35,-6-35-29,0 0 1,1 0-1,-1 0 1,1 0-1,0 0 0,0 0 1,0 0-1,1 0 1,-1-1-1,1 1 1,0-1-1,0 0 0,0 0 1,0 0-1,1 0 1,-1-1-1,1 1 0,0-1 1,-1 0-1,1 0 1,4 2 28,-4-3-199,-1-1 0,1 1 0,0 0 0,0-1 0,-1 0 1,1 0-1,0 0 0,0 0 0,-1-1 0,1 1 0,0-1 0,-1 0 1,1 0-1,0 0 0,-1-1 0,1 1 0,-1-1 199,24-16-1028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4.415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53 14 6385,'-4'1'434,"0"0"0,-1 0 0,1 0-1,0 1 1,0 0 0,-1 0-1,1 0 1,1 0 0,-1 0 0,0 1-1,0 0 1,1 0 0,0 0 0,0 0-1,-1 0 1,2 1 0,-2 1-434,1 0 213,0 0-1,1 0 1,0 1 0,0-1 0,0 1 0,1-1 0,-1 1 0,1 0 0,1 0-1,-1-1 1,1 1 0,0 2-213,2 17 37,1 0-1,2-1 1,0 1-1,2-1 1,6 18-37,-7-25 296,0 3-143,0 0 1,-2 0-1,0 1 0,0 6-153,-4-23 36,1 0-1,-1 0 0,0 0 0,0 0 0,0 0 1,0 0-1,-1 0 0,1 0 0,-1 0 0,0 0 1,0 0-1,-1 0 0,1 0 0,-1-1 0,0 1 1,0 0-1,0-1 0,-1 0 0,1 1 0,-1-1 0,1 0 1,-1 0-1,0-1 0,0 1 0,-2 0-35,3-2 8,0 0 0,0 0 0,0 0 0,0 0 0,-1 0 0,1-1 0,0 1 0,-1-1 0,1 0 0,0 0 0,0 0 0,-1 0 0,1 0 0,0 0 0,-1-1 0,1 1 0,0-1 0,0 1 0,-1-1 0,1 0 0,0 0 0,0 0 0,0 0 0,0 0-1,0-1 1,0 1 0,0-1 0,1 1 0,-1-1 0,1 1 0,-1-1 0,1 0 0,-1 0 0,1 0 0,0 0 0,0 0 0,0 0 0,0 0 0,-1-2-8,0-1-13,-1 0-1,1 0 1,0 0 0,1 0-1,-1 0 1,1-1 0,0 1-1,1 0 1,-1-1 0,1 1-1,0 0 1,0-1 0,0 1-1,1-1 1,0 1 0,0 0-1,1-1 14,0 1-38,1 1 1,0 0-1,0 0 0,0 1 0,0-1 1,0 0-1,1 1 0,0 0 0,-1 0 0,1 0 1,1 0-1,-1 1 0,2-1 38,66-29-358,-30 15 223,-19 6 113,11-5 1,0-2 1,-1-1-1,28-21 21,-54 35 35,0 0 0,0-1 0,-1 0 0,1 0 0,-2 0 0,1-1 0,0 0 0,-1 0 0,-1-1 0,1 1 0,-1-1 0,0 0 0,-1 0 0,0 0-1,0-1 1,-1 1 0,0-1 0,-1 0 0,1-3-35,-2 11 28,0-1 0,1 0 1,-1 0-1,0 0 0,-1 0 0,1 1 0,0-1 0,-1 0 0,1 0 0,0 0 1,-1 1-1,0-1 0,0 0 0,1 1 0,-1-1 0,0 0 0,0 1 0,-1-2-28,1 2 13,0 1-1,0-1 1,0 1-1,0-1 0,0 1 1,0-1-1,0 1 1,0 0-1,-1-1 0,1 1 1,0 0-1,0 0 0,0 0 1,0 0-1,0 0 1,0 0-1,0 0 0,-1 0 1,1 1-1,0-1 1,0 0-1,0 1-12,-4 0 10,1 1 0,-1 0 1,1 1-1,0-1 0,0 1 0,0 0 1,0 0-1,0 0 0,1 0 0,-1 1 0,1-1 1,-2 3-11,-9 15 47,1 1 1,1 0 0,0 0 0,2 1 0,-2 8-48,8-19 37,0 0 1,0 1-1,2-1 0,0 1 1,0 0-1,1-1 1,0 1-1,1 0 1,1 0-1,0-1 1,2 5-38,-2-11-1,0-1 0,1 0 0,0 0 0,0 1 0,0-1 0,0-1 0,1 1 0,0 0 0,0 0 0,0-1 0,1 0 0,-1 0 1,1 0-1,0 0 0,1 0 0,2 1 1,0-1 9,0 0-1,0 0 1,0-1 0,1 0 0,-1 0 0,1-1 0,0 0-1,0 0 1,0-1 0,6 1-9,7-1-204,0-2 1,1 0-1,-1-1 1,0 0-1,0-2 1,0-1-1,0-1 1,3-1 203,30-15-551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5.2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10 27 7378,'-47'-26'3290,"46"25"-3165,0 1 0,0 0 0,1 0 0,-1 0 0,0 0 0,0 0 1,0 0-1,1 0 0,-1 0 0,0 1 0,0-1 0,0 0 0,1 0 1,-1 1-1,0-1 0,0 0 0,1 1 0,-1-1 0,0 1 0,1-1 1,-1 1-1,0-1 0,1 1 0,-1-1 0,1 1 0,-1 0 0,1-1 0,-1 1 1,1 0-1,0 0 0,-1-1 0,1 1 0,0 0 0,-1 0-125,-10 30 1417,9-26-1111,-4 15 85,0 0-1,2 0 1,0 1 0,1 0 0,0 6-391,3-19 17,-1-1 0,1 1 0,1 0-1,-1-1 1,1 1 0,0 0 0,1-1 0,0 0 0,0 1 0,1-1 0,0 0-1,0 0 1,0 0 0,1 0 0,4 5-17,-8-12 2,0 0-1,0-1 1,0 1 0,0 0-1,0 0 1,0 0 0,0-1-1,0 1 1,0 0 0,1 0-1,-1 0 1,0 0 0,0-1-1,0 1 1,0 0 0,0 0-1,0 0 1,0 0 0,0-1-1,0 1 1,1 0 0,-1 0-1,0 0 1,0 0 0,0 0-1,0 0 1,1-1 0,-1 1-1,0 0 1,0 0 0,0 0-1,0 0 1,1 0 0,-1 0-1,0 0 1,0 0 0,0 0-1,1 0 1,-1 0 0,0 0 0,0 0-1,0 0 1,0 0 0,1 0-1,-1 0 1,0 0 0,0 0-1,0 0 1,1 0 0,-1 0-1,0 1 1,0-1 0,0 0-1,0 0 1,0 0 0,1 0-1,-1 0 1,0 0 0,0 1-1,0-1 1,0 0 0,0 0-1,0 0-1,-1-22 112,1 15-84,3 17-65,-1-8 33,-1 1 0,0-1 1,1 1-1,0-1 0,-1 0 0,1 0 0,0 0 1,0 0-1,1 0 0,-1 0 0,0 0 0,0-1 0,1 1 1,-1-1-1,1 1 0,1-1 4,38 16-9,-39-17 8,0 1 1,-1 0 0,1-1-1,0 1 1,-1-1-1,1 0 1,0 0 0,0 0-1,-1 0 1,1 0-1,0-1 1,0 1 0,-1-1-1,1 0 1,-1 0-1,1 0 1,-1 0 0,1 0-1,-1-1 1,1 1-1,-1-1 1,0 1 0,0-1-1,1-1 1,5-4 0,0-1-1,-1 0 0,0-1 1,0 0-1,-1-1 1,2-1-4,9-13 3,-1-1 0,13-26 1,-23 40 10,-2 1 0,0-1 0,0-1 0,0 1 0,-2 0-1,1-1 1,-2 1 0,1-1 0,-1-4-10,-3 8 217,1-1-4172,1 8 3044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5.881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12 38 7098,'56'-19'3254,"-56"19"-3199,1 0 1,-1 0-1,0-1 0,0 1 1,1 0-1,-1 0 1,0 0-1,0 0 1,0 0-1,1 0 1,-1 0-1,0-1 1,0 1-1,0 0 1,0 0-1,1 0 1,-1 0-1,0-1 1,0 1-1,0 0 1,0 0-1,0 0 1,0 0-1,0-1 0,0 1 1,1 0-1,-1 0 1,0-1-1,0 1 1,0 0-1,0 0 1,0 0-1,0-1 1,0 1-1,0 0 1,0 0-1,0-1 1,0 1-1,-1 0 1,1 0-1,0 0 1,0-1-1,0 1 1,0 0-56,-11-7 1622,8 6-1453,1 1-1,0-1 0,0 0 0,0 1 0,-1 0 1,1-1-1,0 1 0,-1 0 0,1 0 1,0 0-1,0 1 0,-1-1 0,0 1-168,-1 1 46,0 0 0,-1 1 0,2 0 0,-1-1 0,0 1 1,0 1-1,1-1 0,0 1 0,0-1 0,0 1 0,0 0 0,0 0 0,1 0 0,0 0 0,-1 0 0,2 1 0,-1-1 0,0 1 0,1-1 0,0 1 0,0 0 0,0 0 0,1-1 0,0 1 0,0 0 0,0 0 1,0-1-1,1 1 0,0 0 0,0 0 0,0 2-46,6 18-24,0-1 1,1 0-1,1 0 1,1-1-1,5 7 24,-11-23 37,-2-4-10,-1 0 1,0 0-1,1 0 0,-1 0 1,0 0-1,-1 0 0,1 0 0,0 0 1,-1 1-1,0-1 0,0 0 1,0 0-1,0 0 0,0 1 0,-1-1 1,1 0-1,-1 0 0,0 0 0,0 0 1,0 0-1,0 0 0,-1 0 1,1 0-1,-1 0 0,0-1 0,1 1 1,-1 0-1,0-1 0,-1 0 1,1 1-1,-2 0-27,1 0 39,-1-1 0,1 0 1,-1 0-1,0 0 0,1 0 1,-1-1-1,0 0 0,0 1 1,0-1-1,0-1 0,-1 1 0,1-1 1,0 1-1,0-1 0,0 0 1,0 0-1,-1-1 0,1 0 1,0 1-1,0-1 0,0-1 1,0 1-1,-3-2-39,6 3-2,0-1-1,0 1 1,0 0 0,0-1 0,1 1-1,-1-1 1,0 1 0,0-1 0,0 1-1,1-1 1,-1 1 0,0-1 0,1 0-1,-1 0 1,1 1 0,-1-1 0,1 0-1,-1 0 1,1 1 0,-1-2 2,8-10-96,36-8-103,-28 14 168,10-10 52,-1 0 1,-1-1-1,-1-2 0,0 0 1,-1-1-1,-1-1 1,-1-1-1,-2-1 0,0-1 1,-1 0-1,-1-1 0,-1 0 1,1-8-22,-14 33 8,-1 0 0,0 0 0,0-1 0,1 1 0,-1 0 0,0 0-1,0-1 1,0 1 0,0 0 0,1 0 0,-1-1 0,0 1 0,0 0 0,0-1 0,0 1 0,0 0 0,0-1 0,0 1 0,0 0 0,0 0 0,0-1 0,0 1 0,0 0 0,0-1 0,0 1 0,0 0 0,0-1 0,0 1 0,0 0 0,0-1 0,0 1 0,0 0 0,-1 0 0,1-1 0,0 1 0,0 0 0,0 0 0,0-1 0,-1 1 0,1 0 0,0 0 0,0 0 0,-1-1 0,1 1 0,0 0 0,0 0 0,-1 0 0,1 0 0,0 0 0,-1-1 0,1 1 0,0 0 0,-1 0 0,1 0 0,0 0 0,0 0 0,-1 0 0,1 0 0,0 0 0,-1 0 0,1 0 0,0 0 0,-1 0 0,1 0 0,0 1 0,-1-1-8,-2 1 31,0 0-1,0 0 1,0 0 0,1 1-1,-1-1 1,0 1-1,1 0 1,-1 0-1,1 0 1,-1 0-31,-4 6 69,-1 0-1,1 0 1,1 0 0,0 1 0,0 0-1,1 0 1,0 1 0,0-1 0,1 1-1,0 0 1,1 0 0,0 1-1,1-1 1,0 0 0,1 1 0,0 0-1,0 5-68,1-7 22,0 1 0,1-1-1,0 1 1,1 0-1,0-1 1,1 0 0,-1 1-1,2-1 1,0 1-22,-1-5 10,1 1 0,-1 0 0,1-1 0,1 0 0,-1 0 0,1 0 0,0-1 0,0 0 0,0 1 1,1-2-1,-1 1 0,1-1 0,4 3-10,13 5-235,0-1 1,0-2-1,0 0 1,1-1-1,0-1 1,1-1-1,0-1 1,-1-2-1,1 0 1,0-2-1,0 0 1,3-3 234,27-1-795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6.86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59 40 6537,'-12'-17'431,"-7"-5"3699,14 28-1653,5 19-558,0 33-495,-3 1 0,-5 32-1424,-4 53 267,15-120-228,-2-24-39,-1 0 1,1 0-1,-1 0 1,1 0-1,-1 0 1,0 0 0,1-1-1,-1 1 1,1 0-1,-1 0 1,0 0-1,1 0 1,-1-1-1,0 1 1,1 0 0,-1 0-1,0-1 1,1 1-1,-1 0 1,0-1-1,0 1 1,1 0-1,-1-1 1,0 1 0,0 0-1,0-1 1,1 1-1,-1-1 1,0 1-1,0 0 1,0-1-1,23-49 7,-20 41-4,7-14-3,0-4 0,1 2 0,0-1 1,2 1-1,1 1 0,1 1 0,1 0 0,1 1 0,2 0 0,-17 19 2,0 1-1,1 0 1,-1 0 0,1 0 0,0 0 0,-1 0-1,1 0 1,0 1 0,0-1 0,0 1-1,0 0 1,0 0 0,1 0 0,-1 0-1,0 1 1,0-1 0,1 1 0,-1 0-1,0 0 1,1 0 0,-1 0 0,0 0-1,0 1 1,1 0 0,-1 0 0,0 0-1,0 0 1,0 0 0,0 0 0,0 1-1,0-1 1,0 1 0,-1 0 0,1 0-1,0 0 1,-1 0 0,0 1 0,1-1-1,-1 1 1,0-1 0,0 1 0,0 0-1,-1 0 1,1 0 0,-1 0 0,0 0-1,1 0 1,-1 0 0,-1 0 0,1 0-1,0 3-1,2 15 91,-2 1 0,0 0 0,-1 0-1,-1 0 1,-1 0 0,-4 15-91,-4 55 85,14-41 98,-4-49-347,0-1-1,0 1 1,0-1 0,1 1 0,-1 0 0,0-1 0,1 1 0,0-1 0,-1 1 0,1-1 0,0 0 0,0 1 0,-1-1 0,1 0 0,0 1 0,0-1 0,1 0 0,-1 0 0,0 0 0,0 0 0,1 0 0,-1 0 0,0 0 0,1 0 0,-1-1 0,1 1 0,-1 0 0,2 0 164,12-1-1318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0.642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0 1248 6209,'-17'21'2021,"17"-21"-1968,0 0 0,0 0 1,0 0-1,0-1 1,0 1-1,0 0 0,0 0 1,0 0-1,0 0 0,0 0 1,0 0-1,0 0 1,0 0-1,0 0 0,0 0 1,0 0-1,0 0 0,0 0 1,0 0-1,-1 0 1,1-1-1,0 1 0,0 0 1,0 0-1,0 0 0,0 0 1,0 0-1,0 0 1,0 0-1,0 0 0,0 0 1,0 0-1,-1 0 0,1 0 1,0 0-1,0 0 1,0 0-1,0 0 0,0 0 1,0 0-1,0 0 0,0 1 1,0-1-1,0 0 1,0 0-54,17-41 4292,1 3-3207,2-8-339,2 1 1,1 1-1,3 1 1,24-30-747,19-15 469,48-48-469,-6 23 47,4 5 0,4 4-1,40-19-46,-102 84-117,1 3 0,2 2 0,2 3 0,38-13 117,55-17-3465,-118 49 546,1 3 128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7.235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0 266 5161,'7'-10'1478,"0"0"0,0 0 0,0 0-1,1 1 1,1 0 0,8-6-1478,32-38 3825,-44 45-3614,-1 0 0,1 0 0,-1-1 0,-1 1 0,0-1 0,0 0-1,0 0 1,0-6-211,-3 12 39,1 0 0,-1 1 1,0-1-1,0 0 0,0 1 0,0-1 0,-1 0 0,1 1 0,-1-1 0,1 1 0,-1-1 0,0 1 0,0-1 0,-1-1-39,1 3 22,0 0-1,0-1 1,0 1 0,0 0-1,-1 0 1,1 0 0,0 0-1,-1 0 1,1 0 0,-1 0-1,1 1 1,-1-1 0,0 0-1,1 1 1,-1-1 0,0 1-1,1 0 1,-1-1 0,0 1-1,1 0 1,-1 0 0,0 0-1,1 0 1,-2 1-22,-1-1 2,1 1-1,-1 0 1,0 1-1,1-1 1,-1 1-1,1-1 1,0 1-1,-1 0 1,1 0 0,0 1-1,0-1 1,0 1-1,0-1 1,1 1-1,-1 0 1,1 0-1,0 0 1,-1 0-1,1 1 1,1-1-1,-1 1 1,0 1-2,-7 13-14,1 0-1,2 1 1,-5 15 14,6-14-10,0 0 1,2 0 0,0 0 0,1 1-1,1-1 1,1 0 0,0 1-1,3 9 10,-2-23-11,0-1-1,1 0 0,0 0 0,0 0 0,0 0 0,0 0 0,1-1 0,0 1 0,1-1 0,-1 0 0,1 0 1,0 0-1,1 2 12,-1-4-25,0 0-1,0 0 1,0 0 0,1-1 0,-1 1 0,1-1 0,-1 0 0,1 0-1,0-1 1,0 1 0,0-1 0,0 0 0,0 0 0,0-1 0,0 0 0,0 1-1,0-2 1,2 1 25,1-1-481,0-1 0,0 1-1,0-1 1,-1-1 0,1 1-1,-1-1 1,1-1-1,-1 1 1,0-1 0,0-1-1,-1 1 1,1-1 0,-1 0-1,0-1 1,1-1 481,18-19-171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7.835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2 4329,'9'53'8310,"-1"29"-5049,-2-21-2084,-3-20-550,8 50 432,-10-85-999,1 0 0,-1 0 0,1 0-1,0-1 1,1 1 0,-1-1 0,1 1 0,0-1 0,0 0 0,1 0 0,0 0-1,3 3-59,-6-7 8,0 0-1,1 1 0,-1-1 1,0-1-1,0 1 0,1 0 0,-1 0 1,0 0-1,1-1 0,-1 1 0,1-1 1,-1 1-1,1-1 0,-1 1 0,1-1 1,-1 0-1,1 0 0,-1 0 0,1 0 1,0 0-1,-1 0 0,1 0 1,-1-1-1,1 1-7,0-1 6,1 0 1,-1 0 0,1-1-1,-1 1 1,0-1 0,0 0-1,1 1 1,-1-1 0,-1 0-1,1 0 1,0-1 0,0 1-1,0 0-6,5-11 17,1 0 0,-1 0 0,-1-1-1,4-11-16,-8 19 10,9-28 15,-1-1 0,-2 0 0,0-10-25,2-9 29,4 146 4,-14-91-33,2 20 0,1-1 1,1 0-1,4 14 0,-6-28-1,0-1 0,0 0 1,0 0-1,1-1 1,-1 1-1,1 0 0,0-1 1,1 0 0,-3-2-1,0-1 0,1 1 0,-1-1 0,0 0 0,1 1 0,0-1 0,-1 0 0,1 0 0,0 0 1,-1 0-1,1-1 0,0 1 0,0 0 0,0-1 0,0 1 0,0-1 0,0 0 0,0 0 0,0 0 1,0 0 0,1 0 0,-1-1 1,1 1 0,0-1 0,-1 0 0,0 0 0,1 0-1,-1-1 1,1 1 0,-1 0 0,0-1 0,0 0-1,0 1 1,0-1 0,0 0 0,0 0 0,-1 0 0,1 0-1,-1 0 1,1-1 0,0 0-1,26-54 46,-19 38-18,8-22 109,-1-1-1,-2-1 0,-2 0 1,6-42-137,-16 88-3014,-2-3 2062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8.72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73 1 4985,'0'0'231,"0"0"1,0 0-1,-1 0 0,1-1 1,0 1-1,0 0 0,-1 0 0,1 0 1,0 0-1,-1 0 0,1 0 1,0 0-1,-1 0 0,1 0 0,0 0 1,0 0-1,-1 1 0,1-1 1,0 0-1,0 0 0,-1 0 0,1 0 1,0 0-1,0 0 0,-1 1 1,1-1-1,0 0 0,0 0 0,-1 0 1,1 1-1,0-1 0,0 0 1,0 0-1,0 1 0,-1-1 0,1 0 1,0 0-1,0 1 0,0-1 1,0 0-232,-5 21 3167,4 36-4298,1-37 2143,-2 263 79,-1 8-952,-4-224-107,4-47-21,0 0-1,2 0 1,1 0-1,0 0 1,1 1-11,0-31-22,0 0 0,0 0 0,1 1-1,1-1 1,-1 0 0,2 1 0,0-3 22,6-18-17,-3-3 1,2-1 0,1 2 0,2 0 1,1 0-1,1 1 0,2 1 0,1 0 0,17-20 16,-32 46 0,1 0 0,0 1 0,0-1-1,0 1 1,1-1 0,-1 1 0,1 0 0,0 1 0,0-1-1,0 1 1,0-1 0,0 1 0,1 0 0,-1 1-1,1-1 1,-1 1 0,1 0 0,2 0 0,-4 1 2,1 0-1,-1 0 1,1 1 0,-1-1 0,0 1-1,1 0 1,-1 0 0,0 0-1,0 1 1,0-1 0,0 1 0,0 0-1,0 0 1,0 0 0,-1 0 0,1 0-1,-1 0 1,1 1 0,-1-1 0,0 1-1,0 0 1,0 0 0,0 0 0,0 0-1,0 2-1,2 2 20,-1 0 0,1 0 0,-2 0 0,1 0 0,-1 0 0,0 1 0,0-1 0,-1 1 0,0 0 0,-1-1 0,1 1-1,-1 0 1,-1-1 0,0 1 0,0 4-20,-2-1 28,0-1-1,-1 1 0,0-1 1,0 1-1,-1-1 0,-1-1 1,1 1-1,-2-1 0,1 0 1,-2 1-28,-9 9 28,-1-1 0,0-1 1,-1 0-1,-1-2 1,-1 0-1,0-1 1,0-1-1,-2-1 0,-1-1-28,18-8-88,-4 2 93,-1-1-1,1 0 1,-1 0-1,0-1 1,-3 0-5,13-2-111,0-1 0,0 0 0,-1 1 0,1-1 0,0 0 0,0 0 0,-1 0 0,1 0 0,0 0 0,0 0 0,-1 0 0,1 0 0,0-1 0,0 1 0,0 0 0,-1-1 0,1 1 0,0-1 0,0 0 0,0 1 0,0-1 0,0 0 0,0 1 0,0-1 0,0 0 0,0 0 0,0 0 0,0 0 0,1 0 0,-1 0 0,0 0 0,1 0 0,-1 0 0,1 0 0,-1 0 0,1-1 0,-1 1 0,1 0 0,0 0 0,0 0 0,-1-1 0,1 1 0,0 0 0,0 0 0,0-1 1,0 1-1,1 0 0,-1 0 0,0-2 111,8-13-1423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9.17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36 9 7130,'-4'-1'522,"0"-1"1,-1 1-1,1 0 1,-1 0-1,1 0 1,-1 0 0,0 1-1,1 0 1,-1 0-1,0 0 1,1 1-1,-1-1 1,1 1 0,-1 0-1,1 0 1,-1 1-1,1 0 1,-1 0-523,-3 2 217,1 0-1,0 0 1,1 1 0,-1 0-1,1 0 1,0 1 0,0 0 0,1 0-1,0 0 1,-1 2-217,-5 8 2,0 0 1,2 1-1,0 0 0,1 1 0,1 0 1,0 0-1,2 0 0,-3 14-2,6-18 6,0 0 0,1-1 0,1 1 0,0 0-1,1 0 1,0-1 0,4 13-6,-5-22-4,1-1 1,0 0-1,0 0 0,0 0 0,1 0 0,-1 0 1,1 0-1,0 0 0,0 0 0,0 0 1,0-1-1,0 1 0,0-1 0,1 0 1,1 2 3,-2-3-5,0 0 0,1 0 1,-1 0-1,1 0 1,-1-1-1,1 1 1,-1 0-1,1-1 1,-1 0-1,1 0 0,0 0 1,-1 0-1,1 0 1,-1 0-1,1-1 1,-1 1-1,1-1 1,0 0-1,-1 0 0,0 0 1,1 0-1,0-1 5,5-2-4,-1 0-1,0-1 0,0 0 0,0-1 0,0 1 1,-1-1-1,0-1 0,-1 1 0,1-1 1,-1 0-1,0 0 0,-1 0 0,0-1 1,0 0-1,-1 0 0,3-7 5,6-20 7,-1-1-1,-2-1 1,0-8-7,-9 43 0,7-43 16,-6 31 18,1 1 1,0-1-1,1 1 1,2-5-35,-1 113 592,-8-21-438,1-55-133,1 0 0,1 1 0,1-1-1,1 0 1,1 0 0,0 0 0,3 6-21,-5-24-14,0 0 1,1 0-1,-1 0 1,0 0-1,1 0 1,-1 0-1,0 0 0,1 0 1,0 0-1,-1 0 1,1 0-1,0 0 1,-1 0-1,1 0 1,0 0-1,0 0 1,0-1-1,-1 1 1,1 0-1,0-1 0,0 1 1,0 0-1,0-1 1,1 1-1,-1-1 1,0 0-1,0 1 1,0-1-1,0 0 1,0 0-1,0 0 0,0 0 1,1 0-1,-1 0 1,0 0-1,0 0 1,0 0-1,0 0 1,0-1-1,1 1 1,-1 0-1,0-1 0,0 1 1,0-1-1,0 1 1,0-1-1,0 0 1,0 1-1,0-1 1,-1 0-1,1 0 1,1 0 12,8-7-1104,-1-1 0,1 0 0,-1 0-1,5-8 1106,-6 7-1882,14-14 257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09.62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3 1 4129,'2'10'9279,"0"28"-6788,-18 224 534,16-261-3021,-1-1 0,1 1-1,0 0 1,0-1 0,0 1 0,0-1-1,0 1 1,0 0 0,0-1 0,0 1-1,0-1 1,1 1 0,-1 0 0,0-1-1,0 1 1,0-1 0,1 1 0,-1 0-1,0-1 1,1 1 0,-1-1 0,0 1 0,1-1-1,-1 0 1,1 1 0,-1-1 0,1 1-4,11-8 23,10-25-36,3-39-2,-22 57 11,1 1 1,1-1-1,0 1 0,0 0 1,1 1-1,1-1 0,0 1 0,1 1 1,0-1-1,1 1 0,5-5 4,-13 16 0,-1-1 1,1 0-1,-1 1 0,1-1 1,-1 1-1,1-1 0,0 1 1,-1-1-1,1 1 0,0-1 1,-1 1-1,1 0 1,0-1-1,0 1 0,-1 0 1,1 0-1,0-1 0,0 1 1,0 0-1,-1 0 0,1 0 1,0 0-1,0 0 0,0 0 1,-1 0-1,1 0 0,0 1 1,0-1-1,0 0 0,-1 0 1,1 1-1,0-1 0,0 0 1,-1 1-1,1-1 0,0 1 1,-1-1-1,1 1 0,0-1 1,-1 1-1,2 2 3,0 0 0,0 1 0,-1-1 1,1 1-1,-1-1 0,0 1 0,0-1 1,0 1-1,0 0 0,-1 1-3,2 17 22,0 0 0,-2 0 0,-1 2-22,-1-8 30,-1 0 0,0 0-1,-5 13-29,4-17 9,1-1 0,0 1 0,1-1 0,0 1 0,1 0 0,0 0 0,1 5-9,0-17-34,0 1-1,0-1 1,0 1-1,0 0 0,0-1 1,0 1-1,0-1 1,1 1-1,-1 0 1,0-1-1,0 1 1,0-1-1,1 1 1,-1-1-1,0 1 1,1-1-1,-1 1 1,0-1-1,1 1 0,-1-1 1,1 1-1,-1-1 1,0 1-1,1-1 1,-1 0-1,1 1 1,0-1-1,-1 0 1,1 0-1,-1 1 1,1-1-1,0 0 35,18-7-5084,-7-1 2935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0.115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52 7882,'65'-50'3334,"-65"49"-3295,1 1 0,-1 0 0,0 0 0,1 0-1,-1 0 1,0 0 0,1-1 0,-1 1 0,1 0 0,-1 0 0,0 0 0,1 0 0,-1 0 0,1 0 0,-1 0 0,0 0 0,1 0 0,-1 0 0,0 1 0,1-1 0,-1 0 0,1 0-1,-1 0 1,0 0 0,1 1 0,-1-1 0,0 0 0,0 0 0,1 1 0,-1-1 0,0 0 0,1 0 0,-1 1 0,0-1 0,0 0 0,0 1 0,1-1 0,-1 0 0,0 1 0,0-1 0,0 0-1,0 1 1,0-1 0,1 0 0,-1 1 0,0-1 0,0 1 0,0-1 0,0 0 0,0 1 0,0-1-39,0 29 1198,0-20-787,-1 19 142,-2 1-1,0-1 0,-2 0 1,-2 2-553,1-4 206,1 0-1,1 0 1,2 0 0,0 16-206,2-41 1,-1 0 0,1 0 0,0 0 0,0-1 0,0 1-1,0 0 1,0 0 0,0 0 0,0-1 0,0 1 0,1 0 0,-1 0 0,0-1 0,0 1 0,1 0 0,-1 0 0,0-1 0,1 1 0,-1 0 0,1-1 0,-1 1 0,1 0 0,0 0-1,8-14-4,6-31-14,-9 14 68,2 1 1,1 0-1,1 0 1,1 1-1,2 0 1,1 1-1,1 1 1,2-1-51,-17 26 13,0 1 1,0 0-1,0-1 1,0 1-1,1 0 0,-1-1 1,0 1-1,0 0 1,0 0-1,0-1 1,0 1-1,1 0 0,-1 0 1,0-1-1,0 1 1,1 0-1,-1 0 0,0-1 1,0 1-1,1 0 1,-1 0-1,0 0 1,0 0-1,1 0 0,-1-1 1,0 1-1,1 0 1,-1 0-1,0 0 1,1 0-1,-1 0 0,0 0 1,0 0-1,1 0 1,-1 0-1,0 0 0,1 0 1,-1 0-1,0 0 1,1 0-1,-1 0 1,0 1-1,1-1 0,-1 0 1,0 0-1,0 0 1,1 0-1,-1 1 1,0-1-14,9 24 315,-5 0-265,-1 0-1,-1 1 0,-1-1 1,-2 0-1,0 1 0,-1-1 1,-3 6-50,2-13-109,2-11 136,0 1-1,0-1 1,0 0-1,1 0 1,0 1 0,0 3-27,0-9-103,1 1 0,-1-1 0,1 1 0,-1-1 0,1 1 0,-1-1 0,1 0 0,0 1 1,-1-1-1,1 0 0,0 1 0,0-1 0,0 0 0,0 0 0,0 0 0,1 0 1,-1 0-1,0 0 0,0 0 0,1 0 0,-1 0 0,0-1 0,1 1 0,-1 0 1,1-1-1,-1 1 0,1-1 0,0 0 103,16 2-854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0.54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270 6417,'25'-13'1745,"-2"-1"0,0-1-1,0-1 1,-2-1 0,1-2-1745,-15 13 435,0-1 0,-1 0 1,0 0-1,0 0 0,-1-1 1,0 0-1,0 0 0,-1-1 1,0 1-1,0-2-435,-3 5-16,1 0 1,-1 0 0,0 0-1,-1 0 1,1-1-1,-1 1 1,0 0-1,0 0 1,-1-1 0,1 1-1,-2-4 16,2 8 15,0 0-1,0 0 1,0 0 0,0 0 0,-1 0-1,1 0 1,0 0 0,-1 0-1,1 0 1,-1 0 0,1 0-1,-1 0 1,0 0 0,1 0-1,-1 0 1,0 0 0,1 0-1,-1 1 1,0-1 0,0 0-1,0 1 1,0-1 0,0 0 0,0 1-1,0-1 1,0 1 0,0 0-1,0-1 1,0 1-15,-1 0 11,0 0 0,0 1 0,0-1 1,0 0-1,0 1 0,0 0 0,0-1 0,0 1 0,1 0 1,-1 0-1,0 0 0,1 0 0,-1 0 0,1 1 0,-2 0-11,-4 4 4,0 1 0,1 0 0,-1 1 0,1-1-1,0 1 1,-1 3-4,-4 12-9,0 1-1,2 0 1,1 0-1,0 1 1,2 0 0,1 1-1,1-1 1,1 1-1,1-1 1,2 1-1,0 0 1,3 11 9,-3-34-6,1 1 0,-1-1 0,1 0 1,0 0-1,0-1 0,0 1 0,0 0 0,1 0 0,-1 0 0,1-1 1,-1 1-1,1-1 0,0 1 0,0-1 0,0 0 0,1 1 1,-1-1-1,0 0 0,1-1 0,-1 1 0,4 1 6,-2-1-4,0-1 1,1 0-1,-1 0 0,0 0 1,1 0-1,-1-1 0,1 1 0,0-1 1,-1-1-1,1 1 0,-1 0 1,1-1-1,3-1 4,3-1 6,-1 0 0,1-1 1,-1 0-1,0 0 0,-1-1 0,1-1 1,-1 0-1,0 0 0,0 0 0,0-1 1,-1-1-1,1-1-6,2-5 26,-1-1-1,-1 0 1,-1-1 0,0 1-1,-1-2 1,0 1-1,-1-1 1,-1 0 0,0-5-26,16-45 217,-16 52-162,0 0 0,2 0 0,0 1 0,0-1 0,8-9-55,-11 19-128,0 1 0,0-1 0,0 1-1,1-1 1,-1 2 0,1-1 0,0 0-1,0 1 1,0 0 0,1 0 0,-1 0 0,1 1-1,-1 0 1,1 0 0,0 0 0,0 1 0,0 0 128,25-4-719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1.65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99 152 6433,'-2'-10'653,"-1"0"-1,0 1 0,-1-1 0,0 1 0,-1 0 1,0 0-1,0 0 0,-1 0 0,0 1 0,-1 0 1,1 0-1,-2 1 0,-4-4-652,9 8 115,0 0 1,-1 1-1,1 0 1,-1-1-1,1 1 0,-1 1 1,0-1-1,0 0 1,0 1-1,0 0 1,0 0-1,0 0 0,0 0 1,0 1-1,0 0 1,0 0-1,0 0 0,-1 0 1,1 0-1,0 1 1,0 0-1,0 0 0,0 0 1,0 0-1,0 1 1,0-1-1,1 1 1,-1 0-1,1 0 0,-1 1 1,1-1-1,-1 1 1,1 0-1,0 0-115,-5 5 31,0 1 0,1 0-1,0 1 1,1-1 0,0 1 0,0 1 0,1-1-1,0 1 1,1 0 0,0 0 0,1 0 0,0 1 0,0 5-31,-3 20-24,1 1 1,2 0 0,2 17 23,1 63-127,5 0 0,6-1 1,22 102 126,-30-203-402,8 31-105,2-24-4567,-8-21 3376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2.002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0 73 5689,'-20'-30'3505,"40"36"-312,8-5-1545,1-1 16,4 0-863,4-1-289,4 1-328,1-2-96,3-2-344,-8-5-481,8-6-1999,-3-3 1792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2.79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97 17 5457,'-11'18'2144,"-32"64"3351,34-62-4899,1 0-1,1 1 1,-2 6-596,7-19 17,0 0 0,0 0 1,1 0-1,0 0 0,0 0 1,1 0-1,0 0 1,0 0-1,1 0 0,0 0 1,0 0-1,1 0 0,0 0 1,0-1-1,1 1 0,0-1 1,1 1-1,0-1 1,0 0-1,0 0 0,2 1-17,-4-4 1,1-1-1,0 0 1,0 0-1,0 0 1,0 0-1,1 0 1,-1-1 0,1 1-1,-1-1 1,1 0-1,0 0 1,0 0-1,0-1 1,0 1-1,0-1 1,0 0-1,0 0 1,1-1-1,-1 1 1,0-1-1,0 0 1,1 0 0,-1 0-1,0 0 1,0-1-1,1 0 1,-1 0-1,0 0 1,0 0-1,0-1 1,0 0-1,0 0 1,0 0-1,0 0 0,3-3 70,0 1 0,-1-1 0,0 0 0,0 0 0,0-1 0,0 0 0,-1 0 0,0 0-1,0-1 1,-1 0 0,0 0 0,0 0 0,-1 0 0,1 0 0,-1-1 0,-1 1 0,0-1 0,0-1-70,1-4 141,-1 0 1,-1-1 0,0 1 0,-1-1 0,0 1 0,-1-1-1,0 1 1,-1 0 0,-1-1 0,0 1 0,-1 0-1,-1 1 1,1-1 0,-2 1 0,0 0 0,0 0 0,-1 0-1,-1 1 1,0 0 0,-6-6-142,-1 9-514,8 21-1644,4 2 1193</inkml:trace>
  <inkml:trace contextRef="#ctx0" brushRef="#br0" timeOffset="1">430 305 7954,'-8'-1'3921,"5"-13"-1545,-1-4-304,4-8-807,4-5-449,7-1-456,4 5-144,10 3-144,-1 5-16,9 1-232,8 1-328,4 13 344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1.461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86 7754,'89'-86'3368,"-89"103"-1959,2 10 223,-7 16-720,1 8-152,-5 14-264,-3 5-167,4 10-153,5-2-64,0-6-80,-1-8-24,2-14-88,-1-8-208,6-18-1009,3-9-1239,-4-18 1576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3.30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02 236 6017,'1'-1'26,"9"-10"869,0 0 0,-2 0 0,1-1 0,-1 0-1,-1-1 1,1-2-895,-6 12 219,-1-1 0,0 1 0,0 0-1,0-1 1,0 1 0,0-1 0,-1 1 0,0-1-1,1 1 1,-1-1 0,-1 1 0,1-1 0,0 1-1,-1-1 1,0 1 0,0-1 0,0 1 0,0-1-1,0 1 1,-1 0 0,0 0 0,1 0-1,-1 0 1,0 0 0,-1 0 0,1 0 0,0 1-1,-2-2-218,-2-2 152,1 1 0,-1 0-1,0 0 1,0 0-1,0 1 1,-1 0 0,1 0-1,-1 1 1,0 0 0,0 0-1,-1 0 1,0 1-152,4 1 7,1 1 0,-1-1 0,0 1 0,0 0 0,0 1 0,0-1 0,1 1 1,-1-1-1,0 1 0,0 0 0,1 0 0,-1 1 0,0-1 0,1 1 0,0 0 0,-1 0 0,1 0 1,0 0-1,0 1 0,0-1 0,0 1 0,1 0 0,-1 0 0,-1 2-7,-5 7-15,1 0 0,0 0 0,1 1 0,1 0 0,0 0 0,0 0 0,2 1 0,0 0 1,0 0-1,1 0 0,0 7 15,1-7-23,0-1 0,1 1 0,1-1 0,0 1 0,1-1 0,1 0 0,0 1 0,0-1 0,2 0 0,-1 0 0,2 0 0,2 4 23,-6-14-11,0 0-1,0-1 1,1 1 0,-1-1-1,1 1 1,-1-1 0,1 1-1,0-1 1,0 0 0,1 0 0,-1 0-1,0 0 1,0 0 0,1 0-1,0-1 1,-1 1 0,1-1-1,0 0 1,-1 1 0,1-1-1,0-1 1,0 1 0,1 0 11,1-1-11,-1 0 1,0-1 0,0 0 0,1 1 0,-1-1 0,0-1 0,0 1-1,0-1 1,0 1 0,0-1 0,-1 0 0,1-1 0,0 1 0,2-3 10,13-11-10,-1-1 0,0-1 0,-2-1 0,0 0 0,2-5 10,-16 22 1,74-115 22,-20 27 36,-70 158 89,7-35-68,1-1-1,2 1 1,1 0 0,2 2-80,1-24-161,0 1-1,1 0 1,1-1-1,0 1 1,1-1-1,1 4 162,-2-10-383,0 0-1,0 1 0,1-1 0,-1 0 1,1-1-1,1 1 0,-1 0 0,0-1 1,1 0-1,0 1 0,0-2 0,4 4 384,14 7-1577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3.89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59 17 6009,'-40'-17'2921,"34"43"-1097,1 4-191,5 10-441,0 2-184,0 3-256,-4 6-88,2 6-271,1-1-145,1-1-176,6-5-32,-3-16-336,0-5-329,1-13-1791,2-4 1568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5.621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745 52 7874,'36'-51'3664,"-38"66"-1831,-1 4-89,2 17-672,-1 3-287,1 14-321,-4 4-112,2 1-224,0 2-72,5-10-216,1-2-464,1-11-2065,-1-8 1809</inkml:trace>
  <inkml:trace contextRef="#ctx0" brushRef="#br0" timeOffset="1">0 774 5345,'4'-4'716,"-1"1"0,1-1-1,-1 1 1,1 0 0,0 0-1,0 1 1,0-1 0,1 1 0,-1 0-1,1 0 1,-1 0 0,1 1 0,4-1-716,70-16 3054,-69 17-2639,61-8 458,1 3 1,48 3-874,-43 1 101,93 0-28,-11 0 3,46-11-76,-140 6-72,-1 2 0,1 3 0,0 4 0,15 3 72,-64-3-180,30 1 672,-26-8-308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7.951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41 37 4265,'-3'73'5840,"14"38"-3465,0 7-1762,-23 190-175,4-134-326,11-246-104,4 1 0,3-4-8,3-19 7,-4 17 246,4 2 1,9-22-254,-11 57 394,1 1 0,2 1 0,2 0 0,2 1 0,3-4-394,-20 40 19,-1-1 0,1 0 0,0 1 0,0-1 0,0 1-1,0-1 1,1 1 0,-1-1 0,0 1 0,0 0-1,1-1 1,-1 1 0,1 0 0,-1 0 0,1 0-1,0 0 1,-1 0 0,1 1 0,0-1 0,0 0 0,1 1-19,-1 0 10,-1 0 0,1 0 0,-1 1 0,1-1 1,-1 1-1,0-1 0,1 1 0,-1 0 1,0-1-1,1 1 0,-1 0 0,0 0 0,0 0 1,0 0-1,1 0 0,-1 0 0,0 0 1,-1 0-1,1 1 0,1 0-10,3 6 33,-1 0 0,1 1 0,-2-1-1,1 1 1,-1 0 0,0 0 0,1 8-33,-2-2 80,0-1 0,-1 1-1,0 0 1,-1 0 0,-1 0 0,0 0 0,-1-1-1,-1 1 1,0 0 0,-1-1 0,0 0 0,-2 0-1,0 1-79,2-7 27,0 0-1,0 0 0,-1-1 0,0 1 0,-1-1 0,0 0 1,0-1-1,0 1 0,-1-1 0,0-1 0,0 1 0,0-1 1,-1 0-1,0-1 0,0 0 0,0 0 0,0 0 0,-1-1 1,1-1-1,-1 1 0,-9 0-26,-4 2-25,15-3-56,1 0 0,0-1-1,-1 0 1,1 0 0,-1 0 0,0-1-1,1 0 1,-1 0 0,1-1-1,-2 0 82,7 0-171,-1 1-1,1-1 1,0 0-1,0 1 1,0-1-1,-1 0 0,1 0 1,0 0-1,0 0 1,1 0-1,-1 0 1,0-1-1,0 1 0,0 0 1,1 0-1,-1 0 1,1-1-1,-1 1 1,1 0-1,-1-1 0,1 1 1,0-1-1,0 1 172,-2-19-1517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8.40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87 77 6833,'1'-1'194,"-1"1"0,1-1 0,0 1-1,-1-1 1,1 0 0,0 1-1,-1-1 1,1 0 0,-1 0 0,1 1-1,-1-1 1,0 0 0,1 0 0,-1 0-1,0 0 1,1 0 0,-1 1-1,0-1 1,0 0 0,0 0 0,0 0-1,0 0 1,0 0 0,0 0-1,0 0 1,0 0 0,0 0 0,0 1-1,-1-2-193,0-1 313,0 1-1,-1 0 0,1 0 0,-1 0 1,1-1-1,-1 1 0,0 0 0,0 1 1,0-1-1,0 0 0,-1-1-312,-2 0 210,1 0-1,-1 1 1,1-1 0,-1 1-1,0-1 1,0 1 0,0 1 0,0-1-1,0 1 1,0 0 0,0 0-1,-1 0 1,1 1-210,1 1 22,0 0-1,1 0 1,-1 0-1,1 1 1,-1 0-1,1-1 1,0 1 0,-1 1-1,1-1 1,0 0-1,0 1 1,0-1-1,1 1 1,-1 0 0,1 0-1,0 0 1,-1 1-1,1-1 1,0 0-1,1 1 1,-1-1 0,1 1-23,-7 13 13,1 1 0,1-1-1,-4 19-11,7-24-2,0 1 0,2 0 0,-1 0 0,2 0 0,-1 0 0,2 0 1,0 0-1,0 0 0,2 1 2,-3-11-4,0-1 0,1 1 1,0 0-1,0 0 0,-1 0 1,2-1-1,-1 1 0,0-1 1,0 1-1,1 0 0,0-1 0,-1 0 1,1 0-1,0 1 0,0-1 1,0 0-1,0 0 0,1-1 1,-1 1-1,0 0 0,1-1 1,-1 1-1,1-1 0,0 0 1,-1 0-1,1 0 0,0 0 1,0-1-1,0 1 0,0-1 1,-1 1-1,1-1 0,0 0 1,0 0-1,0 0 0,0-1 1,0 1-1,0-1 0,-1 1 1,1-1-1,0 0 0,0 0 4,7-3-4,-1-1 0,0 1-1,-1-1 1,1-1-1,-1 1 1,0-1 0,0-1-1,-1 0 1,0 0 0,0 0-1,0-1 1,-1 0-1,0 0 1,-1-1 0,4-6 4,2-5 5,-1 1 1,-1-1 0,-1-1 0,-1 0 0,0 0 0,2-16-6,-7 10 37,-3 20 8,-2 19-10,-9 84 46,6-40-49,5-46-95,-1 6 112,0 0 1,1 0-1,0 0 0,2 0 1,0 8-50,-1-22-46,1 1 1,-1 0-1,1 0 1,-1-1 0,1 1-1,0 0 1,0-1-1,0 1 1,0-1-1,1 1 1,-1-1-1,1 0 1,-1 1 0,1-1-1,0 0 1,0 0-1,0 0 1,0 0-1,0-1 1,0 1-1,1 0 1,-1-1 0,1 0-1,-1 1 1,1-1-1,-1 0 1,1 0-1,0-1 1,-1 1-1,1 0 1,0-1 0,0 0-1,0 1 46,20-1-1339,0-1 512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9.192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59 138 4537,'3'-13'1651,"0"0"-1,-1-1 1,-1 1 0,0 0 0,-1-8-1651,0 18 283,0-1-1,0 1 1,-1 0 0,1 0 0,-1 0 0,0 0-1,0 0 1,0 1 0,0-1 0,0 0 0,-1 0-1,-1-2-282,2 5 83,1-1 0,-1 0 0,-1 0 0,1 0-1,0 0 1,0 1 0,0-1 0,0 0 0,0 1-1,-1-1 1,1 1 0,0 0 0,-1-1 0,1 1-1,0 0 1,0 0 0,-1 0 0,1 0-1,0 0 1,-1 0 0,1 0 0,0 0 0,-1 0-1,1 1 1,0-1 0,-1 0 0,1 1 0,0-1-1,0 1-82,-4 1 70,1 1-1,0 0 1,0-1-1,0 1 1,0 1-1,0-1 1,1 1-1,0-1 1,-1 1-1,1 0 1,0 0-1,1 0 1,-1 1-1,1-1 1,0 1-1,-1 3-69,-28 84 212,27-76-150,-1-1-35,-15 71 60,19-81-87,0 0-1,0 0 0,1 0 1,0 0-1,0 0 0,0 0 1,1 1-1,0-1 1,0 0-1,0 0 0,0-1 1,1 1-1,0 0 0,2 4 1,-3-8-1,-1 0-1,1-1 0,0 1 1,0 0-1,-1-1 0,1 1 1,0 0-1,0-1 0,0 1 0,0-1 1,0 0-1,0 1 0,0-1 1,0 0-1,0 1 0,0-1 1,0 0-1,0 0 0,0 0 1,0 0-1,0 0 0,0 0 1,0 0-1,0 0 0,0 0 1,0-1-1,0 1 0,0 0 1,0-1-1,0 1 0,0 0 0,0-1 1,-1 1-1,1-1 0,0 0 1,0 1-1,0-1 0,-1 0 1,1 1-1,0-1 0,-1 0 1,1 0-1,0 0 2,35-42-21,-33 38 20,95-159 1,-97 163 0,0-1 0,0 0 0,0 0 1,0 0-1,0 1 0,1-1 0,-1 1 1,0-1-1,1 1 0,-1 0 0,1-1 1,0 1-1,-1 0 0,1 0 0,0 0 1,0 0-1,-1 0 0,1 0 1,0 1-1,0-1 0,0 1 0,0-1 1,0 1-1,0 0 0,0 0 0,0 0 0,0 1-1,0 0 1,0 0 0,0 0 0,0 0-1,-1 1 1,1-1 0,-1 0-1,1 1 1,0-1 0,-1 1 0,0 0-1,1-1 1,-1 1 0,0 0 0,0 0-1,0 0 1,0 0 0,0 0 0,6 17-5,-1-1 0,0 1 1,-1 0-1,1 11 5,4 24 2,-2 0-1,-2 1 1,-3-1-1,-2 1 1,-5 36-2,2-71 8,0 0 0,-2-1 0,0 1 0,-1 0 0,-1-1 0,-1 0 0,-1-1 0,0 0 0,-1 0 0,-1 0 0,-1-1 0,-1-1 0,0 0 0,-1 0 0,0-2 0,-1 1 0,-2-1-8,14-12 2,0 0 0,0-1 0,0 1 0,0 0 0,0-1 0,0 0 0,0 1 0,-1-1 0,1 0 0,0 0-1,-1 0 1,1-1 0,-1 1 0,1 0 0,-1-1 0,1 0 0,-1 1 0,1-1 0,-1 0 0,0-1 0,1 1 0,-1 0 0,1-1-1,-1 1 1,1-1 0,-2 0-2,1-1-1,0-1 0,0 1 0,1 0 0,-1-1 0,1 1 0,0-1 1,-1 0-1,1 0 0,1 0 0,-1 0 0,0 0 0,1 0 0,-1 0 0,1-1 0,0 1 0,0-1 0,1 1 0,-1-1 0,1 1 0,-1-1 1,-1-14-11,0-1-1,2 0 1,0 1 0,1-1 0,0 0-1,2 1 1,0-1 0,2 1-1,-1 0 1,2 0 0,1 0 0,0 0 11,4-5-10,2-1 0,0 2 0,1-1 1,1 2-1,1 0 0,1 1 0,1 1 1,7-6 9,7-5-4,9-6 8,-2-2 0,-1-2-1,-3-1 1,0-2-1,13-25-3,-36 48 9,-5 11 8,-1-1-1,0-1 0,-1 1 0,0-1 1,-1 0-1,3-9-16,-7 19 4,1 0 0,-1 0 0,0 0 0,0 0 0,0 0 0,0 0 0,0 0 0,0 0 1,0 0-1,0 0 0,0 0 0,0 0 0,0 0 0,0 1 0,-1-1 0,1 0 0,0 0 0,-1 0 0,1 0 0,-1 0 0,1 0 0,-1 1 0,0-1 1,1 0-1,-1 0 0,0 1 0,1-1 0,-1 0 0,0 1 0,0-1 0,1 1 0,-1-1 0,0 1 0,0-1 0,0 1 0,0 0 0,0-1 0,0 1 1,0 0-1,0 0 0,0 0 0,0-1 0,0 1-4,-2 0 3,1 0 0,-1 0 1,1 0-1,-1 1 0,1-1 1,-1 1-1,1-1 0,-1 1 1,1 0-1,-1 0 0,1 0 1,0 0-1,-1 0 0,1 0 1,0 1-1,-1 0-3,-5 6-1,1 1 0,0 0 1,0 0-1,1 0 0,0 1 0,1 0 1,0 0-1,0 1 0,1-1 0,1 1 0,0 0 1,0 0-1,1 0 0,0 0 0,1 0 0,1 1 1,-1-1-1,2 0 0,-1 0 0,2 1 1,0-1-1,0 0 0,1 0 0,0 0 0,0 0 1,2-1-1,-1 0 0,1 0 0,2 2 1,-3-6-23,0-1-1,1 0 1,0 1-1,0-1 1,0-1 0,1 1-1,0-1 1,0 0-1,0 0 1,0-1-1,0 0 1,1 0-1,0 0 1,-1-1-1,6 1 24,-3 0-310,0-1-1,0-1 0,0 0 1,0 0-1,1-1 1,-1 0-1,0 0 0,0-1 1,1 0-1,-1-1 0,0 0 1,0-1 310,28-15-1018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19.56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17 19 5049,'-1'-1'215,"0"0"0,0-1 0,1 1 1,-1 0-1,0 0 0,-1 0 0,1 0 0,0-1 0,0 2 0,0-1 0,-1 0 0,1 0 1,0 0-1,-1 1 0,1-1 0,0 0 0,-1 1 0,1-1 0,-1 1 0,1 0 0,-1 0 1,1-1-1,-1 1 0,1 0 0,-1 0 0,0 0 0,1 0 0,-1 1 0,1-1 0,-1 0 1,1 1-1,-1-1 0,1 1 0,0-1 0,-1 1 0,1 0 0,0 0 0,-1 0 0,1-1 1,0 1-1,0 0 0,0 0 0,0 1 0,-1-1 0,1 1-215,-4 3 248,1 1 0,0 0 0,1-1 1,-1 1-1,1 1 0,1-1 0,-1 0 0,1 1 0,0-1 0,0 2-248,0 0 64,1 0-1,0 0 1,1 0-1,0 0 1,0 0-1,0 0 0,1 0 1,0 0-1,1 0 1,0 0-1,0 0 1,1 0-1,0 0 0,0 0-63,8 12 111,1 1 0,1-1 0,0-1 0,3 2-111,6 8 225,-21-27-163,1 0 1,0 0 0,-1 0-1,1 1 1,-1-1 0,1 0 0,-1 1-1,0-1 1,0 1 0,0-1-1,-1 1 1,1 0 0,0-1-1,-1 1 1,0 0 0,0-1 0,0 1-1,0 0 1,0 0 0,0-1-1,-1 1 1,1 0 0,-1-1-1,0 1 1,0 0-63,-1 0 70,0-1-1,0 1 1,0-1-1,-1 0 0,1 1 1,-1-1-1,1-1 1,-1 1-1,0 0 1,0-1-1,0 1 1,0-1-1,0 0 1,0 0-1,0 0 0,0 0 1,0-1-1,0 1 1,-1-1-1,1 0-69,-9 2 66,1-2-1,0 1 1,-1-1-1,1-1 0,0 0 1,-1-1-1,-8-2-65,15 3 6,1 0 0,0-1-1,0 1 1,0-1 0,0 0 0,0 0-1,0 0 1,0-1 0,1 1 0,-1-1 0,1 0-1,0 0 1,0 0 0,0 0 0,0-1-1,0 1 1,1-1 0,0 0 0,-1 1-1,1-1 1,-1-4-6,0-15 111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6:33.77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7 5217 4889,'-4'-35'3651,"1"-9"-1149,17-165 2602,-9 99-2691,17-87-2413,21-42 185,10 3 1,11 2 0,38-77-186,75-125 8,170-292-8,-245 541-12,73-93 12,136-167 21,-202 294-18,0 9-273,118-122 270,148-111-773,-302 314 590,2 3 1,3 3-1,2 4 0,3 3 183,-41 25 26,-2-2 0,0-1 0,-2-2 0,-2-2 0,0-1 0,27-35-26,-27 11 306,-34 60-216,-2-3-96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7:21.63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15 107 2713,'-33'-8'2423,"27"6"-1582,1 0-1,-2 1 1,1-1 0,0 1 0,0 0-1,0 1 1,-1-1 0,1 1-1,0 1 1,0-1 0,-1 1 0,-1 0-841,11 1 4891,32 1-4456,41-11-180,0-3 0,17-7-255,57-9 15,-54 12 10,0 5-1,1 4 0,0 5 0,-1 3 0,10 6-24,-96-8 8,1 2 1,-1 0 0,1 0-1,-1 1 1,0 0 0,0 1 0,0 0-9,-8-3 3,0 0 0,0 1 0,0-1 0,0 0 0,-1 0 1,1 1-1,0-1 0,-1 1 0,1-1 0,-1 1 0,0 0 0,1 0 1,-1-1-1,0 1 0,0 0 0,0 0 0,-1 0 0,1 0 1,0 0-1,-1 1 0,1-1 0,-1 0 0,0 0 0,0 0 1,1 0-1,-2 1 0,1-1 0,0 0 0,0 0 0,-1 0 0,1 0 1,-1 0-1,1 0 0,-1 0 0,0 0 0,0 1-3,-7 14 17,1-1 0,-2-1 1,0 1-1,-1-2 0,0 1 0,-1-1 0,-1-1 0,0 0 0,-14 11-17,-22 16-8,-2-2-1,-13 5 9,-23 16-241,55-35 262,0 1 0,2 1 0,-22 25-21,2 14 99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6.52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366 449 4977,'-1'-32'1877,"-2"1"1,-1-1-1,-2 1 1,-1 0-1,-4-10-1877,5 26 243,0 1 0,0 0-1,-1 0 1,-1 1 0,0 0 0,-1 0 0,-1 1 0,0 0 0,0 0 0,-1 1-1,-1 1 1,0-1-243,-1 1 93,0 0 1,-1 1-1,0 1 0,0 0 0,-1 1 0,0 0 0,0 1 0,0 1 0,-1 0 0,0 1 1,0 1-1,-9 0-93,4 1 47,-1 2 0,1 1 0,-1 0-1,1 1 1,0 2 0,0 0 0,0 1 0,-17 7-47,-17 11-7,1 3 0,1 1 0,2 3-1,1 2 1,1 2 0,-19 20 7,8-8-40,2 3 1,2 3-1,-41 50 40,79-81-17,1 1-1,1 1 0,1 1 0,1 0 0,1 1 1,1 0-1,1 1 0,2 1 0,0-1 0,2 1 1,1 1-1,0 2 18,3-5-19,2 0 1,0 0 0,1 0-1,2 0 1,0 0-1,2-1 1,0 1-1,2-1 1,1 0-1,1 2 19,-2-11-9,1 0 0,0 0-1,0-1 1,1 0-1,1 0 1,1-1-1,0-1 1,0 1-1,1-2 1,1 1-1,0-1 1,1-1-1,0 0 1,0-1-1,1-1 1,2 1 9,2 0-12,2-1 1,-1 0-1,1-2 1,0 0-1,0-1 1,1-1-1,0-1 1,-1-1-1,14-1 12,-4-1-17,-1-2 1,1-1-1,-1-1 1,0-2 0,0-1-1,14-6 17,10-7-10,-1-2 0,-1-2 0,-1-3 0,-1-1 0,-1-3 0,40-35 10,-38 25 50,-2-2 1,-1-2-1,-3-3 1,18-25-51,-36 40-109,-2-2 0,-1-1 1,-2 0-1,-2-2 1,-1 0-1,-1-1 0,2-17 109,2-28-354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2.05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129 6825,'34'-20'2319,"1"-1"-501,0 2 1,2 1-1,0 2 1,15-4-1819,-41 17 132,0 0 0,0 0 0,0 1 0,1 1 0,-1-1 0,0 2 0,1 0 0,-1 0 0,1 1 0,-1 1 0,1 0 0,-1 0 1,0 1-1,0 0 0,0 1 0,-1 1 0,8 3-132,-14-6 30,1 0 1,-1 1-1,0 0 1,0 0-1,0 0 0,-1 0 1,1 0-1,-1 1 1,1 0-1,-1-1 1,0 1-1,-1 0 1,1 1-1,-1-1 1,1 0-1,-1 1 1,0 3-31,-1-5 17,-1 0 0,0 0 0,1 0 1,-1 0-1,-1 0 0,1 0 1,0 0-1,-1 0 0,0 0 0,0 0 1,0 0-1,0 0 0,0 0 0,0 0 1,-1-1-1,1 1 0,-1 0 1,0-1-1,0 1 0,0-1 0,0 0 1,0 0-1,0 0 0,-1 0 0,1 0 1,-1 0-1,1 0 0,-3 0-17,-91 51 173,64-37-152,1 1 0,-24 18-21,46-29-10,0 1-1,1 0 1,0 1-1,0-1 1,1 2-1,0-1 1,1 1 0,0 0-1,0 0 1,1 1-1,-2 2 11,7-8 16,-1 0 0,0 0 0,1 0 1,0 0-1,0 0 0,0 0 0,0 0 0,1 0 0,0 0 0,0-1 0,0 1 0,0 0 0,0 0 0,1-1 0,-1 1 0,1 0 0,0-1 0,1 0 1,-1 1-1,1-1-16,6 11 261,1-1 1,0 0 0,1-1 0,4 3-262,2-1 112,1 0 1,1-2-1,0 0 1,1 0-1,8 1-112,62 40 61,-82-47-129,0 0 0,0 1 1,-1-1-1,1 2 0,-2-1 0,1 1 0,-1 0 1,0 1-1,-1-1 68,2 9-3504,-7-12 2266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7.59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754 6593,'0'0'493,"1"-7"6460,13-14-5681,-1 5-826,-4 7-152,0-1 1,-1-1-1,0 0 1,-1 0-1,0 0 1,4-12-295,97-198 698,9 4-1,10 6 1,9 6 0,56-57-698,-91 123-6,-44 58-190,4 2 1,55-55 195,-108 126-384,0 0 1,0 0 0,0 1 0,1 1-1,0-1 1,0 1 0,1 1 0,6-3 383,18-3-1217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8.09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0 47 5217,'9'-24'2913,"-8"11"-401,2 4-319,0 12-393,-3 10-440,2 22-623,2 11-129,-8 16-304,-2 5-96,-6-2-120,6-9-48,3-19-40,3-10-136,6-12-784,-9-9-849,3-9 1089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8.56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235 7114,'9'-15'1170,"1"0"1,0 1-1,1 0 1,1 1 0,0 0-1,8-6-1170,0 2 659,1 0 0,0 1 1,1 1-1,1 2 0,1 0 0,15-6-659,-26 15 101,0-1 0,0 2 1,0 0-1,1 0 0,0 2 1,-1-1-1,1 2 0,0 0 0,0 0 1,1 2-102,-5-1 23,-1 0 0,1 1 1,-1 0-1,1 0 0,-1 1 0,0 1 1,0 0-1,0 0 0,0 0 1,-1 1-1,0 0 0,0 1 1,0 0-1,5 5-23,-11-9 10,-1 0 0,1 0 0,0 0 0,-1 0 0,1 0 1,-1 0-1,0 1 0,0-1 0,0 0 0,0 1 0,0-1 0,0 0 1,-1 1-1,1-1 0,-1 1 0,1-1 0,-1 1 0,0 0 0,0-1 0,0 1 1,-1-1-1,1 1 0,0-1 0,-1 1 0,0-1 0,0 1 0,1-1 1,-2 0-1,1 1 0,0-1 0,0 0 0,-1 0 0,1 0 0,-1 0 1,1 0-1,-1 0 0,0 0 0,-1 0-10,-9 10 31,-1-1 0,-1 0 1,0-1-1,0 0 0,-8 2-31,5-1 15,-22 14 15,0 2 0,-20 19-30,48-36 0,0 0 0,0 1 0,1 1 0,0-1-1,1 2 1,0-1 0,1 1 0,1 0 0,-6 14 0,12-25 3,0 1 1,0-1-1,0 1 1,1 0-1,-1 0 1,1-1-1,0 1 1,-1 0-1,1 0 1,0-1-1,1 1 1,-1 0-1,0 0 1,1-1-1,0 1 1,-1 0-1,1-1 1,0 1 0,0-1-1,1 1 1,-1-1-1,0 1 1,1-1-1,0 0 1,-1 0-1,1 0 1,0 0-1,0 0 1,0 0-1,0 0 1,2 0-4,8 6 74,0-1 1,1 0-1,0-1 1,1 0-1,11 3-74,12 5 121,-12-3-512,0-1 0,1 0 0,0-2 0,0-2 0,15 3 391,-17-7-753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9.40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233 7954,'0'-14'881,"4"-24"1220,-3 37-2000,-1 0-1,1 0 1,-1 0 0,1 0 0,-1 0 0,1 0 0,0 1 0,-1-1 0,1 0 0,0 0 0,0 0 0,0 1 0,0-1 0,-1 0-1,1 1 1,0-1 0,0 1 0,0-1 0,0 1 0,0-1 0,0 1 0,1 0 0,-1 0 0,0-1 0,0 1 0,0 0 0,0 0 0,0 0-1,0 0 1,0 0 0,1 0-101,13 1 1035,13 1 39,1-1-1,0-2 1,-1-1-1,12-3-1073,-34 5 33,0-1 1,0 0-1,0-1 0,-1 1 0,1-1 0,-1 0 0,1-1 1,-1 1-1,1-1 0,-1 0 0,0-1 0,-1 1 1,1-1-1,0 0 0,-1 0 0,0 0 0,0-1 0,0 1 1,-1-1-1,1 0 0,-1 0 0,0 0 0,1-6-33,-3 10 7,0-1-1,0 0 0,-1 1 1,0-1-1,1 0 0,-1 1 0,0-1 1,1 0-1,-1 0 0,0 1 1,0-1-1,-1 0 0,1 1 1,0-1-1,0 0 0,-1 0 0,1 1 1,-1-1-1,0 1 0,1-1 1,-1 0-1,0 1 0,0 0 1,-1-2-7,0 1 3,0 0 1,0 1-1,0-1 1,0 1 0,-1 0-1,1 0 1,0 0-1,-1 0 1,1 0 0,-1 0-1,1 1 1,-1-1 0,0 1-1,1-1 1,-1 1-4,-5 0-2,-1-1-1,1 2 1,0-1 0,-1 1-1,1 0 1,0 1 0,0 0 0,0 0-1,0 1 1,0 0 2,2 0-6,1 0 0,-1 1 0,1-1 0,0 1 0,0 0 0,0 1 0,1-1 0,-1 1 0,1 0 0,0 0 0,1 0 0,-1 1 0,1-1 0,0 1 0,0 0 0,1 0 0,0 0 0,0 0 0,0 0 0,1 0 0,0 1 0,0-1 6,1-1-6,-1-1 1,1 1 0,1-1 0,-1 1 0,1-1 0,0 1 0,0-1-1,0 1 1,0-1 0,1 0 0,0 0 0,0 1 0,0-1 0,0 0-1,0-1 1,1 1 0,0 0 0,0-1 0,0 0 0,0 1 0,1-1-1,-1 0 1,1-1 0,0 1 0,-1-1 0,1 1 0,0-1 0,1 0-1,-1-1 1,4 2 5,0 0-35,-1-1 1,1 1-1,0-2 0,-1 1 0,1-1 0,0 0 0,0-1 0,0 0 0,0 0 1,0 0-1,0-1 0,0-1 0,-1 1 0,1-1 0,0 0 0,-1-1 0,3-1 35,-1-1-251,-1 0-1,1 0 0,-1-1 0,0-1 0,0 1 1,-1-1-1,0 0 0,0-1 0,-1 0 1,0 0-1,0 0 0,-1-1 0,1-2 252,2-3-414,9-15-554,-2-1 0,5-14 968,-20 43 3,0 0 0,1 0 0,-1 0 0,0 0 0,1 0 0,-1 0 0,0 0 0,1 0 0,0 0 0,-1 0 0,1 0 0,-1 0 0,1 0 0,0 0 0,0 1 0,-1-1 0,1 0 0,0 1 0,0-1 0,0 0 0,0 1-3,7 14 473,-4 38 674,-22 111 2145,18-162-3281,0-1 1,-1 0-1,1 1 1,0-1 0,0 0-1,0 1 1,0-1-1,0 0 1,0 1 0,0-1-1,0 1 1,0-1-1,0 0 1,0 1 0,0-1-1,0 0 1,0 1-1,0-1 1,0 0 0,0 1-1,0-1 1,1 0-1,-1 1 1,0-1-1,0 0 1,0 0 0,1 1-1,-1-1 1,0 0-1,0 1 1,0-1 0,1 0-1,-1 0 1,0 0-1,1 1 1,-1-1 0,0 0-1,1 0 1,-1 0-1,0 0 1,1 0 0,-1 1-1,0-1 1,1 0-1,-1 0 1,0 0-1,1 0 1,-1 0 0,0 0-1,1 0 1,-1 0-1,0 0-11,22-16 154,18-32-127,-16 17-5,-9 9-17,1 1 0,1 0 0,1 2 1,0 0-1,2 1 0,0 0 0,13-7-5,-33 25 1,1-1 1,0 1-1,-1-1 0,1 0 0,0 1 0,0 0 0,-1-1 1,1 1-1,0-1 0,0 1 0,0 0 0,-1 0 0,1-1 1,0 1-1,0 0 0,0 0 0,0 0 0,0 0 0,-1 0 1,1 0-1,0 0 0,0 0 0,0 1 0,0-1 1,0 0-1,-1 0 0,1 1 0,0-1 0,0 0 0,-1 1 1,1-1-1,0 1 0,0-1 0,-1 1 0,1 0 0,0-1-1,0 2 5,0 1-1,0-1 1,0 1-1,0-1 1,-1 1-1,1-1 1,-1 1-1,1 0 1,-1-1-1,0 1 0,0 0 1,0 1-5,-1 12 35,-1-1 0,0 0 0,-1 0 0,-2 4-35,-7 11 87,8-23-52,1-1 1,0 1-1,1 0 0,0 0 0,0 0 0,0 0 0,1 0 1,0 0-1,0 0 0,0 6-35,2-12 1,-1-1 0,0 0 0,0 1 1,1-1-1,-1 0 0,0 0 0,1 0 0,-1 1 0,0-1 0,0 0 1,1 0-1,-1 0 0,1 0 0,-1 0 0,0 0 0,1 1 0,-1-1 1,0 0-1,1 0 0,-1 0 0,0 0 0,1 0 0,-1 0 0,0-1 1,1 1-1,-1 0 0,1 0 0,-1 0 0,0 0 0,1 0 0,-1 0 1,0-1-1,0 1 0,1 0 0,-1 0 0,0 0 0,1-1 0,-1 1 1,0 0-1,0-1 0,1 1 0,-1 0 0,0 0 0,0-1 1,0 1-1,0 0 0,1-1 0,-1 1 0,0 0 0,0-1 0,0 1-1,16-19 8,-15 18-6,9-12-2,0 0 1,0 1-1,1 0 0,1 0 0,0 2 0,1-1 1,0 2-1,0-1 0,1 2 0,0 0 1,13-5-1,-26 13 1,0 0 0,0-1 0,0 1 1,0 0-1,0 0 0,0 0 0,0 0 1,0 0-1,0 0 0,0 0 1,0 1-1,0-1 0,0 0 0,0 0 1,0 1-1,0-1 0,-1 1 0,1-1 1,0 1-1,0-1 0,0 1 0,0-1 1,-1 1-1,1 0 0,0 0 0,0-1 1,-1 1-1,1 0 0,-1 0 0,1 0 1,-1 0-1,1-1 0,-1 1 0,1 0 1,-1 0-1,0 0 0,0 0 0,1 0 1,-1 0-1,0 0 0,0 0 1,0 0-1,0 0 0,0 0 0,0 1-1,0 57 82,-1-47-62,1-4 28,0 1-1,1 0 0,0 0 1,1-1-1,0 1 0,0 1-47,-1-8-131,-1 0-1,1 0 0,-1 0 1,1 0-1,0 0 0,0 0 1,0 0-1,0-1 0,0 1 0,0 0 1,0-1-1,1 1 0,-1 0 1,1-1-1,-1 0 0,1 1 0,-1-1 1,1 0-1,0 0 0,0 0 1,0 0-1,0 0 0,0 0 1,-1 0-1,1-1 0,1 1 0,-1-1 1,0 1-1,1-1 132,30 0-1114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19.78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01 5 5049,'-2'-1'541,"-1"0"-1,1 1 1,-1-1-1,0 1 1,1-1-1,-1 1 1,0 0-1,0 0 1,1 0-1,-1 0 1,0 0-1,1 1 1,-1-1-1,0 1 1,1 0 0,-3 1-541,-1 0 506,1 1 0,-1 0 1,1 0-1,0 1 1,0-1-1,0 1 1,-3 3-507,-5 7 447,0 0 0,1 0 0,1 2 0,-6 9-447,11-15 94,0 1 1,1-1 0,0 1 0,1 0 0,0 1-1,0-1 1,2 1 0,-2 8-95,3-18 2,1 1-1,-1 0 1,1-1 0,0 1 0,0 0 0,0 0 0,0-1-1,0 1 1,1 0 0,-1-1 0,1 1 0,0 0-1,-1-1 1,1 1 0,1-1 0,-1 1 0,0-1 0,0 0-1,1 1 1,0-1 0,-1 0 0,1 0 0,0 0-1,0 0 1,0 0 0,0-1 0,0 1 0,0-1 0,1 1-1,-1-1 1,1 0 0,-1 1 0,1-1 0,-1-1-1,1 1 1,-1 0 0,1-1 0,0 1 0,0-1 0,-1 0-2,7 1 6,-1-1 1,1 0 0,0-1-1,-1 0 1,0 0-1,1-1 1,-1 0 0,0 0-1,0-1 1,0 0 0,0-1-1,0 0 1,-1 0 0,1 0-1,-1-1 1,-1 0 0,1 0-1,0-1 1,-1 0-1,1-2-6,-3 4 17,-1 0 0,0 0-1,0 0 1,0 0-1,0-1 1,-1 1 0,0-1-1,0 0 1,0 0-1,0 0 1,-1 0-1,0 0 1,0 0 0,0 0-1,-1 0 1,0 0-1,1 0 1,-2 0 0,1-1-1,-1 1 1,0 0-1,0 0 1,0 0-1,-1 0 1,1 0 0,-1 0-1,0 1 1,-1-1-1,1 1 1,-1-1 0,0 1-1,0 0 1,-3-3-17,-6-7-414,0 1 0,0 0 0,-1 0 1,-9-4 413,17 16-2258,5 6 936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0.17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62 6505,'1'0'218,"0"0"-1,0 0 0,0 0 0,0 1 0,0-1 1,0 0-1,0 0 0,0 1 0,0-1 1,0 0-1,0 1 0,0-1 0,0 1 0,0-1 1,0 1-1,-1 0 0,1-1 0,0 1 0,0 0 1,-1-1-1,1 1 0,-1 0 0,1 0 1,0 0-1,-1-1 0,1 1 0,-1 0 0,0 0 1,1 0-1,-1 0 0,0 0 0,0 0 0,1 0 1,-1 0-1,0 0 0,0 0 0,0 0 1,0 0-1,0 0 0,-1 0 0,1 0-217,-5 53 1909,3-41-1432,1-5-368,1 0 0,0 0 0,0 0 0,0 0 0,1 0 0,1 0 0,-1 0 0,1 0-1,1 0 1,-1-1 0,1 1 0,1 0-109,-3-6 26,0 0-1,1 1 1,-1-1-1,1 0 1,0 0 0,-1 0-1,1 0 1,0 0-1,0 0 1,1 0-1,-1-1 1,0 1-1,0-1 1,1 0 0,-1 1-1,1-1 1,-1 0-1,1 0 1,0-1-1,-1 1 1,1-1-1,0 1 1,0-1 0,-1 0-1,1 0 1,0 0-1,0 0 1,-1 0-1,1-1 1,0 1 0,-1-1-1,1 0 1,0 0-1,-1 0 1,1 0-1,1-1-25,6-5 83,0 0-1,0 0 0,-1-1 1,0 0-1,0-1 0,-1 0 1,0 0-1,-1-1 0,0 0 1,-1 0-1,2-3-82,14-19 97,-6 10-406,1 0 0,1 1 0,1 1-1,1 1 1,0 1 0,7-4 309,-17 19-1800,2 10 743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1.70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177 6569,'4'2'300,"0"0"-1,0-1 0,0 0 0,0 0 0,1 0 0,-1-1 1,0 0-1,1 1 0,-1-1 0,0-1 0,1 1 0,-1-1 1,0 1-1,0-1 0,1 0 0,2-2-299,4-2 718,0-1-1,0 0 1,-1-1 0,1 0-1,1-2-717,13-10 1001,-18 15-706,52-43 1234,-57 45-1475,0 0 1,1-1-1,-1 1 0,0 0 1,0-1-1,0 0 0,-1 1 1,1-1-1,0 0 0,-1 0 1,0 0-1,0 0 1,0 0-1,0 0 0,0 0 1,-1 0-1,1 0 0,-1-1 1,0 1-1,0-3-54,0 5 10,0 1 0,-1 0 0,1-1-1,0 1 1,-1-1 0,1 1 0,0 0 0,-1-1 0,1 1 0,-1 0-1,1-1 1,0 1 0,-1 0 0,1 0 0,-1 0 0,1-1 0,-1 1-1,1 0 1,-1 0 0,1 0 0,0 0 0,-1 0 0,1 0 0,-1 0-1,1 0 1,-1 0 0,1 0 0,-1 0 0,1 0 0,-1 0-1,1 0 1,-1 0 0,1 1 0,-1-1 0,1 0 0,-1 0 0,1 0-1,0 1 1,-1-1 0,1 0 0,-1 1 0,1-1 0,0 0 0,-1 1-1,1-1 1,0 0 0,0 1 0,-1-1 0,1 1-10,-22 17 82,12-6-11,1 1-1,0 1 0,0-1 0,2 1 0,-1 1 0,2 0 0,0 0 1,1 0-1,0 0 0,1 1 0,1 0 0,0 5-70,3-17 13,0-1 0,0 1 0,0-1 0,0 1 0,1-1 0,-1 1 0,1-1 0,0 1 0,0-1 0,0 0 0,0 1 0,1-1 0,-1 0 0,1 0 0,0 0 0,0 0 0,2 2-13,1 0 7,1 1 0,-1-1 0,1 0 0,0 0-1,1 0 1,-1-1 0,1 0 0,2 1-7,11 4-36,0 0 0,1-2 0,0 0 0,1-1 0,8 0 36,28 1-260,0-6 117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27.88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18 8 4433,'-94'11'2283,"71"-9"9706,29-4-9357,28-4-2775,14 2 622,1 2 1,-1 2-1,48 7-479,-14-2 201,-45-4 60,1-3 1,21-4-262,-21 2 360,1 1 1,14 3-361,269-2 887,-204 1-737,-82 0-99,0 0-1,-1 2 0,1 2 0,-1 2 0,1 1-50,20 3 53,0-2-1,0-3 0,1-2 1,-1-2-1,2-3-52,113 1 53,-116 7 8,32 6-61,-43-4 36,1-1-1,40-2-35,382-1 171,-216 6 330,62 18-501,-101-7 136,132-10-38,-114-6-82,244 7 16,-345-9-27,-9 0 15,49-8-20,-111 2 4,-1 3 1,0 3-1,50 8-4,-38-5 8,35-2-8,39 2 8,-81 1-50,1 2 0,-2 3 0,49 15 42,-95-22-316,0 0 0,1-1 1,15 1 315,-5-5-134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3.23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2 531 6497,'-1'0'116,"0"0"-1,0 0 1,1 1-1,-1-1 1,0 0-1,0 0 0,0 0 1,0 0-1,0 0 1,0 0-1,0-1 1,0 1-1,0 0 0,0 0 1,0-1-1,1 1 1,-1 0-1,0-1 1,0 1-1,0-1 1,0 1-1,1-1 0,-2 0-115,18-10 2176,49-12 282,516-137-105,529-72-2353,-838 189-4,1 11 0,2 12-1,227 16 5,-436 6-61,0 4 0,0 2 1,-1 4-1,-1 2 0,22 9 61,-61-14-301,0 0-1,-1 1 1,0 2 0,-1 0-1,0 2 1,-1 0 0,0 1 0,-1 2-1,-1 0 1,-1 1 0,-1 1-1,0 1 1,-1 0 0,8 15 301,-5-5-858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4.82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567 6 1624,'0'0'147,"0"-1"0,0 1 0,0 0-1,0-1 1,-1 1 0,1 0 0,0 0-1,0-1 1,0 1 0,0 0 0,-1 0 0,1 0-1,0-1 1,0 1 0,0 0 0,-1 0-1,1 0 1,0 0 0,0-1 0,-1 1-1,1 0 1,0 0 0,-1 0 0,1 0 0,0 0-1,0 0 1,-1 0 0,1 0 0,0 0-1,-1 0 1,1 0 0,0 0 0,0 0-1,-1 0 1,1 0 0,0 0 0,0 0 0,-1 0-1,1 0 1,0 1 0,-1-1 0,1 0-1,0 0 1,0 0 0,0 0 0,-1 1-1,1-1 1,0 0 0,0 0 0,0 0 0,-1 1-1,1-1 1,0 0 0,0 0 0,0 1-1,0-1 1,0 0 0,-1 0 0,1 1-147,-16 21 1997,-10 17-1276,-3-1 0,0-2-1,-3-1 1,-12 10-721,-150 127 819,106-97-312,81-69-471,-47 46 84,50-48-110,0 0 1,1 1-1,-1-1 1,1 1 0,0 0-1,1-1 1,-1 1-1,1 1 1,0-1 0,0 0-1,0 4-10,2-8 7,0-1-1,0 1 0,0-1 0,0 1 0,0-1 1,0 1-1,0-1 0,0 1 0,0-1 1,1 1-1,-1-1 0,0 1 0,0-1 1,1 1-1,-1-1 0,0 0 0,1 1 1,-1-1-1,0 1 0,1-1 0,-1 0 1,0 1-1,1-1 0,-1 0 0,1 0 1,-1 1-1,1-1 0,-1 0 0,1 0 1,-1 0-1,1 1 0,-1-1 0,1 0 1,-1 0-7,21 3 142,-18-3-110,152 8 619,-65-5-358,73 13-293,15 14-901,-70-15 57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2.959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56 203 7954,'63'-19'6678,"-52"15"-6069,1-1 0,-1 0 0,0-1 0,8-5-609,-16 10 11,-1-1 0,1 0-1,0 1 1,-1-1-1,1-1 1,-1 1-1,1 0 1,-1 0 0,0-1-1,0 0 1,0 1-1,-1-1 1,1 0-1,0 0 1,-1 0 0,0 0-1,0 0 1,0 0-1,0 0 1,0 0 0,-1-1-1,1 1 1,-1 0-1,0 0 1,0-1-1,0 1 1,0 0 0,-1 0-1,1-1 1,-1 1-1,0 0 1,0 0 0,0 0-1,0 0 1,-1 0-1,1 0 1,-1 0-1,0 1 1,0-2-11,0 1 2,1 0-1,-1 1 0,0-1 1,0 1-1,0-1 1,0 1-1,0-1 1,-1 1-1,1 0 1,-1 0-1,1 1 1,-1-1-1,0 0 0,0 1 1,0-1-1,0 1 1,0 0-1,0 0 1,0 0-1,0 1 1,0-1-1,0 1 0,0 0 1,-1-1-1,1 1 1,0 1-1,0-1 1,0 0-1,-1 1 1,1 0-1,0-1 1,-1 2-2,-2 0-18,1 1 0,-1-1 0,0 2 0,1-1 0,-1 0 0,1 1 1,0 0-1,0 1 0,1-1 0,-1 1 0,1-1 0,0 1 0,0 1 1,1-1-1,-3 5 18,-1 5-33,1 0 0,0 0 0,1 1 0,1-1 0,1 1 1,0 0-1,1 0 0,0 0 0,2 13 33,0-4-16,1-1 0,2 0 0,0 0 1,2 0-1,1-1 0,2 6 16,-4-16 3,1-1-1,0 0 1,1 0 0,0 0-1,1-1 1,0 0 0,1 0 0,5 5-3,-11-14-9,0 1 1,0-1 0,1 1-1,-1-1 1,1 0 0,-1 0-1,1 0 1,0 0 0,0-1-1,0 1 1,0-1 0,0 1-1,0-1 1,0 0 0,1 0-1,-1-1 1,0 1 0,1-1-1,-1 1 1,0-1 0,1 0-1,-1 0 1,0-1 0,1 1-1,-1-1 1,0 0 0,0 1 0,1-1-1,-1-1 1,0 1 0,0 0-1,0-1 1,0 0 0,2-1 8,6-5-192,-1 0 0,-1 0 1,1-1-1,-1-1 1,-1 1-1,0-1 0,0-1 1,-1 1-1,0-1 1,3-8 191,7-19-865,-2 0 1,7-28 864,-11 33-234,0 0 1,2 1 0,13-23 233,-22 49 30,-3 3-3,0 1-1,-1 0 0,1 0 1,0 0-1,0 0 0,1 0 1,-1 1-1,0-1 0,1 0 1,-1 0-1,1 1 0,-1-1 1,1 1-1,0-1 0,0 1 1,0 0-1,0 0 0,0 0 1,0 0-1,0 0 0,0 0 1,0 0-1,0 1 0,2-1-26,-3 2 70,0-1 0,0 1-1,0 0 1,0 0 0,0 0-1,-1 0 1,1 0-1,0 0 1,0 0 0,-1 0-1,1 0 1,-1 0-1,1 0 1,-1 0 0,1 0-1,-1 1 1,0-1 0,0 0-1,1 0 1,-1 0-1,0 2-69,5 32 766,-5-31-633,21 186 3752,-21-189-3873,0-1 0,0 1 1,0 0-1,0-1 0,0 1 1,0 0-1,0-1 0,0 1 1,0-1-1,0 1 0,0 0 1,1-1-1,-1 1 0,0 0 1,0-1-1,1 1 0,-1-1 1,0 1-1,1 0 0,-1-1 1,0 1-1,1-1 0,-1 1 1,1-1-1,-1 0 0,1 1 1,-1-1-1,1 1 0,-1-1 1,1 0-1,0 1 0,-1-1 1,1 0-1,-1 0 0,1 1 1,0-1-1,-1 0 0,1 0 1,0 0-1,-1 0 0,1 0 1,0 0-1,-1 0 0,1 0 1,0 0-1,-1 0 0,1 0 0,0-1 1,-1 1-1,1 0 0,-1 0 1,1-1-1,0 1 0,-1 0 1,1-1-1,-1 1 0,1 0 1,-1-1-1,1 1 0,-1-1 1,1 1-1,-1-1 0,0 1 1,1-1-1,-1 1 0,1-1 1,-1 0-1,0 1-12,37-50 86,-28 37-46,27-45-21,-28 45-12,-1-1 0,2 1 0,0 0 0,0 1 0,2 0 0,9-8-7,-19 18 3,1 1 0,-1-1 0,1 1 0,-1 0 0,1 0-1,0 0 1,0 0 0,0 0 0,0 0 0,-1 1 0,1-1-1,0 1 1,0-1 0,0 1 0,0 0 0,0-1 0,0 1-1,1 0 1,-1 0 0,1 1-3,-2-1 3,0 1 0,0 0 0,0 0 0,1-1 0,-1 1 0,0 0 0,0 0 0,0 0 0,0 0 0,-1 0 0,1 0 0,0 0 0,0 1 0,0-1 0,-1 0 0,1 0 0,-1 1 0,1-1 0,-1 0 0,0 1 0,1-1 0,-1 0 0,0 1 0,0-1 0,0 0 0,0 1 0,0-1 0,0 1 0,0 0-3,-6 73 86,3-55-27,2-1 0,0 1 1,1 0-1,0 0 0,3 9-59,-3-29 1,0 1 0,0-1 0,0 0-1,0 1 1,0-1 0,0 0 0,0 0 0,0 1 0,0-1 0,0 0 0,0 0 0,1 1 0,-1-1 0,0 0-1,0 0 1,0 1 0,0-1 0,0 0 0,0 0 0,1 0 0,-1 1 0,0-1 0,0 0 0,0 0 0,1 0 0,-1 1-1,0-1 1,0 0 0,1 0 0,-1 0 0,0 0 0,0 0 0,1 0 0,-1 0 0,0 0 0,0 0 0,1 1 0,-1-1-1,0 0 1,0 0 0,1 0 0,-1 0 0,0-1 0,1 1 0,-1 0 0,0 0 0,0 0 0,1 0 0,-1 0 0,0 0-1,0 0 1,1 0 0,-1-1 0,0 1 0,0 0 0,0 0 0,1 0 0,-1 0 0,0-1 0,0 1 0,0 0 0,0 0-1,1 0 1,-1-1 0,0 1 0,0 0 0,0 0-1,15-20 35,-13 16-25,37-58 36,-30 46-45,0 0 0,0 0 0,2 1 0,0 1 0,0 0 0,2 0 0,-1 1 0,2 1 0,0 0 0,3-1-1,-17 13 1,1-1-1,-1 1 0,1-1 0,0 1 0,-1 0 1,1-1-1,0 1 0,-1 0 0,1-1 0,0 1 0,0 0 1,-1 0-1,1 0 0,0 0 0,0 0 0,-1 0 1,1 0-1,0 0 0,0 0 0,0 0 0,-1 0 0,1 0 1,0 0-1,-1 1 0,1-1 0,0 0 0,0 1 1,-1-1-1,1 0 0,0 1 0,0 0 0,0 0 3,0 1 0,0 0 0,0-1-1,0 1 1,0 0 0,0 0 0,-1 0 0,1 0 0,0 0-1,-1 0 1,0 0 0,1 2-3,-1 68 86,-1-60-72,1-2 9,0 0-1,0 0 1,1-1-1,1 1 1,0 0-1,0-1 1,2 5-23,-3-12-151,0 1-1,0 0 1,0 0 0,0-1-1,1 1 1,-1-1 0,1 1-1,0-1 1,-1 0 0,1 0-1,0 1 1,1-1 0,-1-1-1,0 1 1,1 0 0,-1 0 0,1-1-1,-1 0 1,1 1 0,-1-1-1,1 0 1,0 0 0,0 0-1,0-1 1,-1 1 0,4-1 151,17 1-949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5.40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445 178 4049,'-4'-14'1101,"0"0"0,0 1 0,-2 0 0,0 0 0,0 0 0,-1 0 0,-1 1 0,-6-8-1101,11 16 150,0-1 1,-1 1 0,1 1 0,-1-1-1,0 0 1,0 1 0,0 0-1,0 0 1,-1 0 0,1 1 0,-1-1-1,0 1 1,0 0 0,0 0 0,0 1-1,0 0 1,0-1 0,0 2 0,0-1-1,0 1 1,-1-1 0,1 1-1,0 1 1,0-1 0,-3 1-151,-1 2 74,0 1 1,0 0 0,0 0-1,0 1 1,1 0-1,0 0 1,0 1-1,0 0 1,0 0-1,1 1 1,0 0-1,1 0 1,-4 5-75,-8 11 28,2 1 0,0 0 0,1 1 0,2 0-28,0 2 1,2 1 0,1 0 0,1 0 0,1 1-1,1 0 1,2 0 0,1 0 0,2 1 0,0 14-1,2-21-11,1 0 1,1 0 0,0 0 0,2-1-1,1 1 1,1-1 0,0 0-1,2-1 1,1 1 0,0-1 0,1-1-1,8 10 11,-12-21-128,-1-1-1,2 1 0,0-1 0,0-1 1,0 1-1,1-1 0,0-1 0,0 0 1,0 0-1,1 0 0,0-1 0,0 0 0,1-1 1,-1 0-1,1 0 0,0-1 0,0 0 1,2-1 128,32 2-678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5.79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88 0 6081,'-13'106'5234,"6"54"-2841,5-69-1373,-12 65-1020,-8-39 686,11-62-189,2 0 1,0 23-498,8-74 20,1 1-1,0-1 1,1 1 0,-1-1 0,1 1 0,0-1-1,0 1 1,0-1 0,2 4-20,-3-8 2,0 1-1,0-1 1,0 1-1,1-1 1,-1 1-1,0-1 1,1 0-1,-1 1 1,0-1-1,1 0 1,-1 1-1,0-1 1,1 0-1,-1 1 1,1-1 0,-1 0-1,0 0 1,1 0-1,-1 1 1,1-1-1,-1 0 1,1 0-1,-1 0 1,1 0-1,-1 0 1,1 0-1,-1 0 1,1 0-1,-1 0 1,1 0-1,-1 0-1,2-1 1,0 0 0,-1 0 0,1 0-1,-1 0 1,1 0 0,-1 0-1,1 0 1,-1-1 0,1 1-1,-1 0 1,0-1 0,0 1 0,1-2-1,19-29 0,-2 0 0,-1-2 1,-2 0-1,7-21 0,-9 20 0,2 0 0,1 1 0,1 1 0,18-22 0,-34 51 5,0 1 0,1 0 0,0 0 0,-1 0 0,1 0 1,0 1-1,0-1 0,1 1 0,-1-1 0,0 1 0,1 0 0,0 1 0,-1-1 1,1 1-1,0-1-5,-3 2 4,0 0 1,0 0 0,0 0-1,0 0 1,0 0-1,0 0 1,0 0 0,0 0-1,0 1 1,0-1 0,0 0-1,0 1 1,0-1 0,-1 0-1,1 1 1,0-1-1,0 1 1,0-1 0,-1 1-1,1 0 1,0-1 0,-1 1-1,1 0-4,1 2 11,-1-1-1,1 1 1,-1-1-1,0 1 1,0-1-1,0 1 1,0 0-1,0 0 1,-1 0-1,1-1 1,-1 1-1,0 0-10,1 25 68,-1 0 0,-1 0 0,-3 13-68,2-16-9,0 0 0,1-1 0,2 1 0,2 20 9,-3-43-131,0 0 0,0 0 0,0 0 1,1 1-1,-1-1 0,0 0 0,1-1 0,0 1 0,-1 0 0,1 0 0,0 0 0,0 0 0,0 0 0,0-1 0,0 1 0,0 0 0,1-1 0,-1 1 0,1-1 0,-1 0 0,1 1 1,-1-1-1,1 0 0,0 0 0,-1 0 0,1 0 0,0 0 0,0 0 0,0 0 0,0-1 0,0 1 0,2-1 131,18 1-1482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7.75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17 29 8162,'-2'-3'384,"1"1"0,-1 0 1,0 0-1,0 0 0,0 0 0,0 0 1,-1 0-1,1 1 0,-1-1 0,1 1 1,-1-1-1,1 1 0,-1 0 0,0 0 1,1 0-1,-1 1 0,0-1 0,0 1 1,-1-1-385,1 1 190,-1 1 0,1-1 0,-1 1 0,1-1 0,0 1 0,-1 0 0,1 1 1,0-1-1,0 0 0,-1 1 0,1 0 0,0 0 0,1 0 0,-2 0-190,-4 5 96,0 1-1,0 0 0,0 0 1,1 0-1,1 1 1,-1 0-1,1 0 0,1 1 1,-2 4-96,-4 11 61,1 0 1,1 0 0,-1 9-62,8-25-3,0-1-1,0 1 1,1-1 0,0 1-1,0 0 1,1-1 0,0 1-1,1 0 1,0-1 0,0 1-1,1 0 1,0 1 3,-1-8-4,-1-1 0,1 0 0,0 1 1,0-1-1,-1 1 0,1-1 0,0 0 0,0 0 0,0 1 0,0-1 0,0 0 0,0 0 1,1 0-1,-1 0 0,0 0 0,1-1 0,-1 1 0,0 0 0,1 0 0,-1-1 1,1 1-1,-1-1 0,1 1 0,-1-1 0,1 0 0,-1 0 0,1 0 0,-1 1 0,1-2 1,0 1-1,-1 0 0,1 0 0,-1 0 0,1-1 0,-1 1 0,1-1 0,-1 1 0,1-1 1,-1 1-1,0-1 0,1 0 0,-1 0 0,0 0 0,1 0 4,6-4-12,-1 0 0,1 0 0,-1-1 0,0 0 0,0 0 0,5-7 12,14-21-13,-1-1-1,12-24 14,21-30 17,-57 88-16,-1 0 0,1 0 1,0 0-1,-1 0 0,1 0 1,0 1-1,-1-1 0,1 0 1,0 0-1,0 0 0,0 1 0,0-1 1,0 1-1,0-1 0,0 0 1,0 1-1,0 0 0,0-1 1,0 1-1,0 0 0,1-1-1,-2 1 2,1 1 0,-1-1 0,1 1 0,0-1 0,-1 0 0,1 1 0,-1-1 0,1 1 0,-1-1 0,1 1 0,-1 0 0,0-1 0,1 1 0,-1-1 0,0 1 0,1 0 0,-1-1-1,0 1 1,0 0 0,0-1 0,0 1 0,1 0 0,-1-1 0,0 1-2,1 51 70,-8 12-28,3-44-27,2 0-1,0-1 0,1 1 0,1 0 0,2 6-14,-2-25 0,0 0 0,0 0-1,0 0 1,0 1 0,0-1 0,0 0-1,0 0 1,1 0 0,-1 0 0,0 0 0,1 0-1,-1 0 1,1 0 0,0 0 0,-1 0-1,1 0 1,-1 0 0,1-1 0,0 1-1,0 0 1,0 0 0,-1-1 0,1 1 0,0 0-1,0-1 1,0 1 0,1-1 0,-1 0-1,1 0 0,-1 0 0,1 0 1,-1 0-1,0 0 0,1-1 0,-1 1 0,1-1 1,-1 1-1,0-1 0,1 0 0,-1 1 0,0-1 1,0 0-1,1 0 0,-1 0 0,1 0 1,5-7-4,1 1 0,-1-1 0,0 0 0,-1 0 0,2-2 4,30-61 0,-32 57 2,1 0 0,0 0 0,1 1 0,1 0 0,0 0 0,0 1 0,2 0 0,5-5-2,-16 17 1,1 0-1,-1-1 1,0 1-1,0 0 1,1 0 0,-1-1-1,0 1 1,0 0-1,1 0 1,-1 0 0,0 0-1,1 0 1,-1-1-1,0 1 1,1 0 0,-1 0-1,0 0 1,1 0-1,-1 0 1,0 0 0,1 0-1,-1 0 1,0 0-1,1 0 1,-1 0 0,0 0-1,1 1 1,-1-1-1,0 0 1,0 0-1,1 0 1,-1 0 0,0 0-1,1 1 1,-1-1-1,0 0 1,0 0 0,1 0-1,-1 1 1,0-1-1,0 0 1,1 0 0,-1 1-1,0-1 1,0 0-1,0 1 1,0-1 0,0 0-1,6 26 22,-5 27 15,-20 67 74,19-120-111,0 0 1,0 1-1,0-1 1,0 1-1,-1-1 0,1 0 1,0 1-1,0-1 1,0 1-1,0-1 1,0 1-1,0-1 1,0 0-1,0 1 0,0-1 1,1 1-1,-1-1 1,0 1-1,0-1 1,0 0-1,0 1 0,1-1 1,-1 1-1,0-1 1,0 0-1,1 1 1,-1-1-1,0 0 1,0 1-1,1-1 0,-1 0 1,1 0-1,-1 1 1,0-1-1,1 0 1,-1 0-1,1 1 0,15-9-6,15-21-11,-9-1 12,24-28 1,-43 55 5,0 0 1,0 1 0,0-1 0,1 0 0,-1 1 0,1 0-1,-1 0 1,1 0 0,0 0 0,0 0 0,0 1-1,0 0 1,0 0 0,4-1-2,-7 2 3,0 0 0,0 0 0,1 0 0,-1 0 0,0 0 0,0 0 0,1 1 0,-1-1 0,0 0 0,0 1 0,0-1 0,1 1 0,-1-1 0,0 1 0,0-1 0,0 1 0,0 0 0,0 0 0,0-1 0,0 1 0,0 0 0,0 0 0,-1 0 0,1 0 0,0 0 0,-1 0 0,1 0 0,0 0 0,-1 1 0,1-1 0,-1 0-3,10 48 141,-10-44-168,0-1 0,0 0 0,1 1 0,-1-1 0,1 0 0,0 0 0,1 0 0,-1 0 0,1 0 0,-1 0 0,1 0 0,1 0 0,0 1 27,2-2-327,0 0 1,0-1 0,0 1-1,0-1 1,1-1-1,-1 1 1,1-1-1,-1 1 1,1-2 0,-1 1-1,1-1 1,0 1-1,-1-1 1,1-1-1,0 1 1,-1-1 0,1 0 326,15-3-1807,0 0 0,0-1 1,15-6 1806,-26 8-282,-1-1 0,0-1 0,0 1 0,0-1 0,-1-1 0,0 0 0,0 0 0,0 0 0,0-2 282,0 0 580,1-2 1,-2 1-1,1-1 0,-1-1 0,-1 1 0,0-1 0,0-2-580,-6 15 131,-1 0-1,0-1 1,0 1 0,0-1 0,0 0 0,0 1-1,-1-1 1,1 0 0,0 0 0,-1 0 0,1 1-1,-1-1 1,1-1 0,-1 1 0,1 0 0,-1 0 0,1-1-1,-1 1 1,0 0 0,0-1 0,1 0 0,-1 1-1,0-1 1,0 0 0,1 0 0,-1 0 0,0 0-1,0 0 1,1-1 0,-1 1 0,0 0 0,1-1-1,-1 1 1,0-1 0,1 0 0,-1 0 0,0 1 0,1-1-1,-1 0 1,1 0 0,0 0 0,-1-1 0,1 1-1,0 0 1,0 0 0,0-1 0,-1 1 0,1-1-1,1 1 1,-1-1 0,0 1 0,0-1 0,1 0 0,-1 1-1,0-1 1,1 0 0,0 1 0,-1-1 0,1 0-1,0 0 1,0 1 0,0-1 0,0 0 0,0 0-1,1 1 1,-1-1 0,0 0 0,1 0 0,0-1-131,-7 17 91,0 0 0,1 1 0,0 0 0,2 0 0,0 0 0,0 0 0,1 0 0,1 10-91,0-24 1,1 0-1,0-1 1,0 1 0,0 0 0,-1 0-1,1 0 1,0 0 0,0-1-1,0 1 1,0 0 0,1 0 0,-1 0-1,0 0 1,0 0 0,0-1 0,1 1-1,-1 0 1,0 0 0,1 0 0,-1-1-1,1 1 1,-1 0 0,1-1 0,-1 1-1,1 0 1,-1-1 0,1 1 0,-1-1-1,1 1 1,0-1 0,0 1-1,-1-1 1,1 1 0,0-1 0,0 0-1,-1 1 1,1-1 0,0 0 0,0 0-1,0 1 1,0-1 0,-1 0 0,1 0-1,0 0 1,0 0 0,0 0 0,0 0-1,0 0 1,-1-1 0,1 1-1,0 0 1,0 0 0,0-1 0,-1 1-1,1 0 1,0-1 0,0 0-1,4-1 3,0-1-1,0 0 1,-1 0 0,1-1 0,-1 1-1,0-1 1,0 0 0,1-2-3,-5 6-1,1-1 0,-1 1 1,0 0-1,0 0 0,0 0 0,0 0 1,0 0-1,1 0 0,-1 0 0,0-1 1,0 1-1,0 0 0,1 0 0,-1 0 1,0 0-1,0 0 0,0 0 0,1 0 1,-1 0-1,0 0 0,0 0 0,0 0 1,0 0-1,1 0 0,-1 0 1,0 0-1,0 0 0,0 0 0,1 0 1,-1 1-1,0-1 0,0 0 0,0 0 1,0 0-1,1 0 0,-1 0 0,0 0 1,0 0-1,0 1 0,0-1 0,0 0 1,1 0-1,-1 0 0,0 0 0,0 1 1,8 13-26,6 21-19,-13-31 37,16 52-217,-2 1 1,-3 1 0,-2 0-1,-3 1 1,-3-1 0,-2 51 224,-3-86-2,-1 0 0,0 0 0,-2-1 0,-1 1 0,-1-1 1,-1 0-1,0 0 0,-2-1 0,-1 0 0,0 0 0,-1-1 0,-4 4 2,13-21 11,0-1-1,0 1 1,0 0-1,0-1 1,0 1 0,-1-1-1,1 0 1,-1 0-1,1 0 1,-1 0-1,0 0 1,0 0 0,0-1-1,0 1 1,0-1-1,0 0 1,0 0-1,-1 0 1,1 0 0,0-1-1,-1 1 1,1-1-1,0 0 1,-1 0-1,1 0 1,0 0-1,-1-1 1,1 0 0,0 1-1,0-1 1,0 0-1,-1 0 1,-1-2-11,-1 0 16,1-1 0,0 0 0,0 0 0,0-1 0,1 1 1,-1-1-1,1 0 0,0-1 0,1 1 0,-1 0 0,1-1 0,0 0 1,0 0-1,1 0 0,0 0 0,0 0 0,-1-3-16,0-4 4,1-1 0,-1 1 0,2-1-1,0 1 1,1-1 0,0 1 0,1-1 0,0 1 0,1-1 0,1 1-1,0 0 1,1 0 0,0 0 0,1 0 0,2-1-4,3-7-10,2 2 1,1 0 0,0 0-1,1 1 1,1 0-1,0 2 1,2 0 0,14-11 9,91-72-17,-66 57 35,-2-3 0,-2-2 0,-2-2 1,2-7-19,-46 49 24,-1-1 0,0 0 0,-1 0 1,1 0-1,-1-1 0,2-8-24,-5 16 10,-1 0 0,0-1 0,1 0 1,-1 1-1,0-1 0,1 1 0,-1-1 0,0 1 0,0-1 0,0 1 0,-1-1 0,1 0 0,0 1 1,-1-1-1,1 1 0,-1-1 0,1 1 0,-1-2-10,0 2 8,0 0 0,-1 1 0,1-1 1,0 0-1,0 0 0,0 1 0,-1-1 0,1 0 0,0 1 0,-1 0 1,1-1-1,-1 1 0,1 0 0,0-1 0,-1 1 0,1 0 0,-1 0 1,1 0-1,-1 0 0,1 1 0,0-1 0,-1 0 0,1 1 0,-2-1-8,-2 2 1,0 0 0,-1 0-1,1 1 1,0 0-1,1-1 1,-1 2-1,0-1 1,1 0-1,0 1 1,0 0 0,0 0-1,0 0 1,0 1-1,1-1 1,0 1-1,0 0 1,0-1-1,1 1 1,0 1 0,0-1-1,-1 2 0,-3 9-11,0 1-1,1 0 1,1 0-1,0 0 1,2 1-1,-1 4 12,3-17-13,0 0 0,0-1 0,0 1 0,1 0 0,0-1-1,0 1 1,0 0 0,0-1 0,1 1 0,-1-1 0,1 0 0,1 1 0,-1-1 0,0 0-1,1 0 1,0-1 0,0 1 0,0 0 0,0-1 0,1 0 0,-1 0 0,1 0-1,0 0 1,0 0 0,0-1 0,0 0 0,0 0 0,1 0 0,-1 0 0,1-1 0,-1 1-1,1-1 1,2 0 13,11 3-415,1-1 0,1 0 0,-1-2 0,0 0 0,1-1 0,-1-1 0,18-3 415,51-14-963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8.94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88 1 3593,'-5'19'8299,"-13"109"-6425,11-23-1117,3-36-492,-2 0 0,-15 61-265,12-91-77,2 1 1,2 0 0,0 17 76,9 19-2649,1-51 162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9.331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78 19 6145,'-1'-1'333,"-1"-1"1,0 0-1,0 1 0,0-1 0,0 1 0,0-1 1,0 1-1,0 0 0,0 0 0,0 0 0,-1 0 0,1 0 1,0 1-1,-1-1 0,1 1 0,-1 0 0,1-1 0,0 1 1,-1 0-1,0 0-333,0 1 171,0 0 0,0-1 1,-1 1-1,1 1 0,0-1 0,0 0 1,0 1-1,1-1 0,-1 1 0,0 0 1,1 0-1,-1 0 0,-1 2-171,-3 3 51,1 0 0,0 1 0,1-1 1,-1 1-1,1 0 0,1 1 0,0-1 0,0 1 0,-2 8-51,-4 13 30,2 1-1,1 1 1,2-1-1,-1 15-29,6-37-8,0 1-1,0-1 1,1 1-1,0 0 1,1-1 0,0 1-1,0-1 1,1 0 8,-2-4-8,1-1-1,0 0 1,0 0-1,0 0 1,0-1-1,1 1 1,0-1 0,0 1-1,-1-1 1,2 0-1,-1 0 1,0 0 0,1 0-1,-1 0 1,1-1-1,4 2 9,-5-2-7,1 0-1,-1-1 0,1 0 1,0 1-1,0-1 0,0 0 1,0-1-1,0 1 0,0-1 1,0 0-1,0 0 0,0 0 1,0 0-1,0-1 0,0 0 1,0 0-1,-1 0 0,1 0 1,3-1 7,-1-2-2,0 1 0,0 0-1,-1-1 1,1 0 0,-1-1 0,0 1 0,0-1 0,-1 0 0,1 0 0,-1 0 0,2-4 2,0-1 32,0 0 0,0 0 0,-1-1 0,0 1 0,-1-1 0,0 0 0,-1 0 0,0 0 0,-1-1 0,0 1 0,-1-1 0,-1 1 0,0-12-32,0 17-23,-1 0-1,0 1 0,-1-1 0,0 1 1,0-1-1,0 1 0,0 0 0,-1 0 0,0 0 1,0 0-1,0 0 0,0 0 0,-1 1 1,0 0-1,0 0 0,0 0 0,-1 0 1,1 1-1,-1-1 0,0 1 0,0 0 1,0 1-1,0-1 0,0 1 0,0 0 1,-1 0-1,1 1 0,-1-1 0,0 1 0,1 1 1,-1-1-1,0 1 0,-2 0 24,-9 8-1800,10 13 752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29.72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99 92 6977,'1'-6'965,"-1"0"-1,0-1 1,0 1-1,-1 0 1,0 0-1,0 0 1,0 0-1,-1 0 1,1 0-1,-2-2-964,2 6 57,1 1 0,-1 0 1,1 0-1,-1-1 0,0 1 0,1 0 0,-1 0 0,0 0 1,0 0-1,0 0 0,0 0 0,0 0 0,0 0 0,0 0 1,0 1-1,0-1 0,-1 0 0,1 1 0,0-1 0,0 0 0,-1 1 1,1 0-1,0-1 0,0 1 0,-1 0 0,1 0 0,-1-1 1,1 1-1,0 0 0,-1 1 0,1-1 0,0 0 0,-1 0 1,1 0-1,0 1 0,-1-1 0,1 1 0,0-1 0,0 1 1,-1-1-1,1 1 0,0 0 0,0 0 0,0 0 0,0-1 1,0 1-1,0 0 0,0 0 0,0 0 0,0 1-57,-6 5-3,1 0-1,-1 0 0,2 1 1,-1 0-1,1 0 0,0 0 1,1 0-1,0 1 0,-2 4 4,-26 85-94,25-76 8,1 0 0,1 0 0,2 1 0,0-1 0,1 12 86,1-33-19,1 0 0,0 0 0,0 0 0,-1-1 0,1 1 1,0 0-1,0 0 0,0 0 0,0 0 0,0 0 0,1 0 0,-1 0 1,0 0-1,0 0 0,1 0 0,-1 0 0,0 0 0,1 0 1,-1-1-1,1 1 0,-1 0 0,1 0 0,0 0 0,-1-1 0,1 1 1,0 0-1,-1-1 0,1 1 0,0-1 0,0 1 0,-1-1 0,1 1 1,0-1-1,0 1 0,0-1 0,0 0 0,0 1 0,0-1 0,0 0 1,0 0-1,0 0 0,0 0 0,0 0 0,0 0 0,0 0 0,-1 0 1,1 0-1,0 0 0,0-1 0,0 1 0,0 0 0,0 0 1,0-1-1,0 1 0,0-1 0,-1 1 0,1-1 0,0 1 0,0-1 1,-1 0-1,1 0 19,7-4-125,0 0 0,-1-1 0,0 1 1,-1-2-1,6-5 125,16-26-261,-22 28 189,1 1-1,1-1 0,0 1 1,0 1-1,6-6 73,-14 14-11,1-1-1,0 1 1,0-1 0,-1 1-1,1-1 1,0 1 0,0 0-1,0-1 1,-1 1-1,1 0 1,0 0 0,0-1-1,0 1 1,0 0 0,0 0-1,0 0 1,-1 0 0,1 0-1,0 0 1,0 0 0,0 1-1,0-1 1,0 0 0,0 0-1,-1 1 1,1-1 0,0 0-1,0 1 12,21 23-397,8 42-347,-28-60 669,12 35-120,-1 1 1,-2 1-1,-2-1 0,-2 1 0,-2 1 0,-1-1 0,-3 1 0,-1 0 1,-3-1-1,-6 38 195,3-55 135,0 0 1,-2-1-1,-1 0 1,-11 23-136,17-42 83,0 0 0,0 1 0,0-1 0,-1 0 0,0-1 0,0 1 0,-1-1 0,0 0 0,0 0 0,0 0 0,0 0 0,-1-1 0,0 0 0,1-1-1,-2 1 1,1-1 0,0 0 0,-1 0 0,1-1 0,-1 0 0,0 0-83,3-1 33,0-1 0,0 0 1,0 0-1,-1 0 0,1 0 0,0-1 0,0 1 0,0-1 0,0 0 0,0 0 0,0-1 0,0 1 0,0-1 1,1 0-1,-1 0 0,1 0 0,-2-2-33,-1 0 10,1-1 1,0 0-1,0 0 1,1-1-1,-1 1 1,1-1-1,0 0 1,1 0-1,-1 0 0,1-1-10,-3-8-158,0 1 0,1-1 0,1-1-1,0 1 1,1-1 0,1 1-1,1-1 1,0 0 0,1-2 158,0 4-376,2-1 0,-1 1 0,2 0-1,2-6 377,23-55-894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30.36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42 88 4577,'4'-6'811,"0"-1"-1,0 0 1,-1 0-1,0 0 1,0-1-1,0-2-810,-2 8 134,-1 1-1,0 0 0,0 0 0,1 0 1,-1 0-1,0 0 0,0 0 0,0-1 1,0 1-1,0 0 0,-1 0 0,1 0 1,0 0-1,-1 0 0,1 0 0,0-1 1,-1 1-1,1 0 0,-1 0 0,0 0 1,1 1-1,-1-1 0,0 0 0,1 0 1,-1 0-1,0 0 0,0 1 1,0-1-1,0 0 0,0 1 0,0-1 1,0 0-1,0 1 0,0-1 0,0 1 1,0 0-1,0-1 0,0 1 0,0 0 1,0 0-1,-1 0 0,1 0 0,0 0 1,0 0-1,0 0 0,0 0 0,0 0 1,-1 1-134,-3-1 73,0 1 1,0 0-1,1 1 1,-1-1-1,1 1 1,0 0-1,-1 0 1,1 0-1,0 0 1,0 1-1,0 0 1,0 0-1,1 0 1,-1 0-1,1 0 1,0 1-1,0 0 1,0-1-1,0 1 1,1 0-1,0 1 1,-1 0-74,-5 10-11,0-1 1,2 2 0,-1-1 0,2 1-1,-3 11 11,6-16-8,0 0 0,0 0 0,2 0 0,-1 0 0,1 0 0,1 0-1,0-1 1,0 1 0,2 6 8,-2-14-4,-1-1 0,1 1-1,0-1 1,-1 1 0,1-1 0,1 1-1,-1-1 1,0 1 0,1-1 0,-1 0-1,1 0 1,-1 0 0,1 0 0,0 0 0,0 0-1,0 0 1,0 0 0,0-1 0,1 1-1,-1-1 1,0 0 0,1 0 0,-1 0-1,1 0 1,-1 0 0,1 0 0,-1 0-1,1-1 1,0 0 0,-1 1 0,1-1 0,0 0-1,0 0 1,-1 0 0,1-1 0,0 1-1,-1-1 1,1 1 0,-1-1 0,2 0 4,3-2 20,0 0 1,-1 0 0,1 0 0,-1 0 0,0-1 0,1 0-1,-2-1 1,1 0 0,0 1 0,-1-2 0,0 1-1,0 0 1,-1-1 0,0 0 0,0 0 0,0-1-1,0 1 1,-1-1 0,0 1 0,-1-1 0,0 0-1,0 0 1,0 0 0,-1-1 0,1 0-21,-1 2 15,0 0 0,-1-1 1,1 1-1,-1 0 0,0 0 0,-1-1 0,1 1 1,-1 0-1,-1 0 0,1-1 0,-1 1 1,0 0-1,0 1 0,-1-1 0,0 0 0,0 1 1,0-1-1,-1 1 0,1 0 0,-1 0 0,0 0 1,-1 1-1,1-1 0,-1 1 0,0 0 1,0 1-1,0-1 0,-1 1 0,0-1-15,-20-2 544,5 19-357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30.78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332 2 6305,'0'-2'3233,"3"17"-448,3 12-1049,-6 18-248,0 11-415,-3 25-673,-3 9-120,5 7-128,-8 5-56,-2-7-80,-2-6-16,-4-14-40,3-11-128,4-19-560,-2-4-649,-8-16 841</inkml:trace>
  <inkml:trace contextRef="#ctx0" brushRef="#br0" timeOffset="1">0 619 8042,'18'-9'3705,"14"3"-1985,4 3-56,10-2-856,4 2-335,2 0-281,6 3-72,-9 2-529,5 7-335,0 1-1184,-6 4-1105,0 7 1937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8:32.703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93 79 4633,'67'-49'2638,"-67"49"-2571,0 0 1,1-1-1,-1 1 1,1 0 0,-1-1-1,0 1 1,1-1-1,-1 1 1,0-1-1,1 1 1,-1 0-1,0-1 1,0 1-1,1-1 1,-1 1-1,0-1 1,0 0-1,0 1 1,0-1-1,0 1 1,0-1-1,0 1 1,0-1 0,0 1-1,0-1 1,0 1-1,0-1 1,0 1-1,0-1 1,0 1-1,-1-1 1,1 1-1,0-1 1,-1 0-68,-18-8 1801,15 8-1568,0 0-1,0 0 1,0 1-1,-1 0 1,1-1 0,0 2-1,0-1 1,0 0 0,-4 2-233,2 2 99,-1 0 0,1 1 0,0 0 1,1 0-1,-1 0 0,1 1 1,0 0-1,0 0 0,1 0 1,-1 1-1,2-1 0,-1 1 0,1 0 1,0 0-1,0 1 0,1-1 1,-1 2-100,-1 6 93,0 0 0,1 0 0,0 0 1,1 0-1,1 0 0,1 1 0,0-1 0,1 5-93,-1-17 7,0 1 0,1 0-1,-1 0 1,1 0 0,0-1 0,0 1-1,0 0 1,0-1 0,1 1-1,-1-1 1,1 0 0,0 1-1,0-1 1,0 0 0,1 0-1,-1 0 1,1 0 0,0-1 0,-1 1-1,1-1 1,0 0 0,1 1-1,-1-1 1,0-1 0,1 1-1,-1 0 1,1-1 0,-1 0-1,1 1 1,-1-2 0,1 1 0,2 0-7,1-1 33,0 0 1,0 0-1,0-1 1,0 0-1,0-1 1,-1 1-1,1-1 1,-1-1-1,1 1 1,-1-1-1,0 0 1,1-1-1,-2 1 1,1-1-1,0 0 1,-1-1 0,4-3-34,0 0 272,-1 0 0,0-1 1,0-1-1,-1 1 1,0-1-1,0 0 1,-1 0-1,-1-1 0,0 0 1,3-9-273,-7 17 25,0-1 0,0 0 1,-1 1-1,1-1 0,-1 1 1,0-1-1,0 0 0,0 1 0,0-1 1,-1 0-1,1 1 0,-1-1 0,0 1 1,0-1-1,0 1 0,-1 0 1,1-1-1,-1 1 0,0 0 0,0 0 1,0 0-1,0 0 0,-1 0 0,1 0 1,-1 1-1,1-1 0,-1 1 1,0 0-1,0 0 0,0 0 0,0 0 1,-1 0-1,1 1 0,0-1 0,-1 1 1,0 0-26,-26-8-206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14.36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70 0 6481,'3'0'3209,"-6"8"-1032,3 5-145,-1 7-192,-4 5-335,4 14-369,-2 8-192,-6 14-336,-3 13-160,-3 14-272,-3-1-88,6-4-56,-3-6-8,-2-17-24,1 1-128,-6-13-568,9-6-584,2-12 76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3.33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89 3 8818,'-3'0'519,"0"1"-1,0-1 1,0 1 0,0 0 0,0 0 0,0 0-1,0 1 1,0-1 0,0 1 0,1-1-1,-1 1 1,1 0 0,-1 0 0,1 0-1,-1 1-518,-36 41 568,29-32-26,-2 3-432,0 1-1,2 0 1,0 1-1,0-1 1,2 2 0,0 0-1,-5 17-109,11-28-3,-1 0 1,1 0-1,1 1 0,0-1 0,0 0 1,0 1-1,1-1 0,0 1 0,0-1 1,0 0-1,1 1 0,1-1 1,-1 0-1,1 1 0,0-1 0,1 0 1,0 0-1,0-1 0,0 1 0,1-1 1,4 7 2,-5-10 1,0 1 0,0-1 0,0 0 0,0 0 0,1 0 0,-1 0 0,1-1 0,0 0 0,0 1 0,0-1 0,0 0 0,0-1 0,0 1 0,0-1 0,1 0 0,-1 0 0,0 0 0,1-1 0,-1 1 0,1-1 0,-1 0 0,1 0 0,-1-1 0,0 1 0,1-1 0,-1 0 0,0 0 0,1-1 0,-1 1 0,0-1 0,0 0 0,0 0 0,0 0 0,1-2-1,4-1 67,-1-1 0,-1 0 0,1-1 0,-1 0 0,0 0-1,0 0 1,-1-1 0,0 0 0,0 0 0,-1 0 0,0-1 0,-1 0-1,0 0 1,0 0 0,0-1-67,-1-4 35,1 0 0,-2 0 0,0 0-1,-1 0 1,0-1 0,-1 1 0,0 0 0,-1 0-1,-1 0 1,0 0 0,-1 0 0,-1 0 0,0 0-1,-1 1 1,0-1 0,-1 1 0,-1 1 0,0-1 0,0 1-1,-5-5-34,11 17-65,1 0-1,-1-1 0,1 1 0,-1 0 0,1 0 1,-1-1-1,0 1 0,1 0 0,-1 0 0,0 0 1,1 0-1,-1 0 0,1 0 0,-1 0 1,0 0-1,1 0 0,-1 0 0,0 0 0,1 0 1,-1 0-1,0 1 0,1-1 0,-1 0 0,1 0 1,-1 1-1,1-1 0,-1 0 0,1 1 0,-1-1 1,1 1-1,-1-1 0,1 1 0,-1-1 1,1 1-1,-1-1 0,1 1 0,0-1 0,-1 1 1,1-1-1,0 1 0,0-1 0,-1 1 0,1 0 1,0-1-1,0 1 0,0 0 0,0-1 1,0 1-1,0 0 0,0-1 0,0 1 66,-1 0-99,-5 15-756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14.79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23 391 7626,'-23'-14'3640,"55"29"-1263,4 5-609,4 1-567,4 1-417,5 1-536,1-2-120,0-6-88,-2-8-16,4-7-584,-1-7-777,5-17 857</inkml:trace>
  <inkml:trace contextRef="#ctx0" brushRef="#br0" timeOffset="1">641 1 6625,'-15'136'7069,"-2"-1"-3878,-1-12-2328,-7-2 1,-13 33-864,30-108 65,8-45-65,0-1 0,0 0 0,0 0 0,0 0 0,0 1 0,-1-1-1,1 0 1,0 0 0,0 1 0,0-1 0,0 0 0,0 0 0,0 0 0,1 1 0,-1-1 0,0 0 0,0 0 0,0 1 0,0-1 0,0 0-1,0 0 1,0 0 0,0 1 0,0-1 0,1 0 0,-1 0 0,0 0 0,0 0 0,0 1 0,0-1 0,1 0 0,-1 0 0,0 0 0,0 0 0,0 0-1,1 1 1,-1-1 0,0 0 0,0 0 0,0 0 0,1 0 0,-1 0 0,0 0 0,0 0 0,1 0 0,-1 0 0,0 0 0,0 0 0,18-20-27,43-91-134,-42 73 113,2 2 0,1 0-1,2 0 49,-21 32-2,0 0-1,0 1 1,0 0-1,0 0 0,0 0 1,1 0-1,0 0 1,-1 1-1,4-2 3,-7 4 0,1-1 0,-1 1 0,1 0 0,0 0 0,-1-1 1,1 1-1,0 0 0,-1 0 0,1 0 0,0 0 0,-1 0 0,1 0 0,0 0 0,-1 0 0,1 0 0,0 0 0,-1 1 0,1-1 0,0 0 0,-1 0 0,1 1 0,-1-1 0,1 0 1,0 1-1,0 0 1,0 0 1,0 0 0,-1 0 0,1 1 0,0-1 0,0 0 0,-1 1 0,1-1 0,-1 0-1,1 1 1,-1-1 0,1 1 0,-1-1 0,0 1 0,0 1-2,1 11 46,-1 0 0,-1 1 0,-1-1 0,0 0 0,0 0-1,-2 0 1,0 2-46,0-5 26,1 0 0,1 0 0,-1 0 0,2 1 0,0-1 0,0 0 0,1 1 0,0-1 0,1 1 0,0-1 0,1 0 0,2 5-26,-4-14-69,1 0 1,0-1-1,0 1 0,0-1 0,0 1 0,0-1 0,0 0 0,0 1 0,0-1 0,0 0 0,1 0 0,-1 0 0,0 0 0,1 0 0,-1 0 1,1 0-1,0 0 0,-1 0 0,1-1 0,-1 1 0,1-1 0,0 1 0,0-1 0,-1 0 0,1 0 0,0 0 0,0 0 0,-1 0 0,1 0 1,0 0-1,0 0 0,-1-1 0,1 1 0,0 0 0,1-2 69,22-8-774</inkml:trace>
  <inkml:trace contextRef="#ctx0" brushRef="#br0" timeOffset="2">916 570 6841,'95'0'3489,"-107"36"-1248,7 1-425,-8-5-936,10-5-360,3-9-320,-2-8-192,8-11-1376,3-8 1008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15.27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1 10 7314,'-3'-8'3672,"-1"7"-1543,2 2-1017,2-1-448,-1 0-728,1 0-640,0 0 488</inkml:trace>
  <inkml:trace contextRef="#ctx0" brushRef="#br0" timeOffset="1">149 145 6009,'47'76'3360,"-47"-76"-3298,0 0 0,0 0 0,0 0 1,0 1-1,0-1 0,0 0 0,0 0 0,1 0 1,-1 0-1,0 1 0,0-1 0,0 0 1,-1 0-1,1 0 0,0 0 0,0 1 1,0-1-1,0 0 0,0 0 0,0 0 0,0 0 1,0 0-1,0 1 0,0-1 0,0 0 1,0 0-1,0 0 0,-1 0 0,1 0 1,0 0-1,0 1 0,0-1 0,0 0 0,0 0 1,0 0-1,-1 0 0,1 0 0,0 0 1,0 0-1,0 0 0,0 0 0,-1 0 0,1 0 1,0 0-1,0 0 0,0 0 0,0 0 1,-1 0-1,1 0 0,0 0 0,0 0 1,0 0-1,0 0 0,-1 0 0,1 0 0,0 0 1,0 0-1,0 0 0,0 0 0,0 0 1,-1 0-1,1-1 0,0 1 0,0 0 1,0 0-1,0 0 0,0 0-62,-1 0 71,0-1 0,0 1 0,0 0 0,0 0 0,0 0 0,0 0 0,0 0-1,0 0 1,0 0 0,1 0 0,-1 1 0,0-1 0,0 0 0,0 1 0,0-1 0,0 0 0,0 1 0,1-1 0,-1 1 0,0-1 0,0 1 0,1-1 0,-1 1-1,0 0 1,1 0 0,-1-1 0,0 1 0,1 0 0,-1 0 0,1-1 0,-1 1 0,1 0 0,0 0 0,-1 0 0,1 0 0,0 0 0,0 0 0,0-1 0,-1 1 0,1 0-72,-1 19 76,1-1-1,1 0 0,1 0 0,0 0 0,2 0 1,0-1-1,1 1 0,4 11-74,-3-12 196,0 0 1,-2 0-1,0 1 1,-1-1-1,-1 1 0,0 0 1,-2 0-1,-1 14-196,1-31 52,0-1-1,0 1 1,-1 0-1,1 0 1,0 0-1,-1 0 1,0 0-1,1-1 1,-1 1-1,0 0 1,0-1 0,0 1-1,0 0 1,0-1-1,0 1 1,-1-1-1,1 0 1,0 1-1,-1-1 1,1 0-1,-1 0 1,1 0 0,-1 0-1,0 0 1,1 0-1,-1 0 1,0-1-1,0 1 1,0-1-1,1 1 1,-1-1 0,0 0-1,0 1 1,0-1-1,0 0 1,0 0-1,0 0 1,1-1-1,-1 1 1,0 0-1,0-1 1,-1 0-52,-1 0 20,0 0 1,0 0-1,1-1 0,-1 0 1,0 0-1,1 0 0,0 0 1,-1 0-1,1-1 0,0 1 1,0-1-1,0 0 0,0 0 1,1 0-1,-1 0 0,1-1 1,0 1-1,0 0 0,-1-4-20,1 2-139,1 1-1,0-1 1,0 0-1,0 0 1,1 1 0,-1-1-1,1 0 1,0 0-1,1-2 140,6-18-456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15.66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65 25 10018,'5'-24'4641,"-16"30"-2352,4 3-425,4 0-1128,3-2-384,0 1-288,1-5-224,-1-3-872,0 0-1377,0 0 1497</inkml:trace>
  <inkml:trace contextRef="#ctx0" brushRef="#br0" timeOffset="1">38 109 9306,'-31'114'4561,"28"-105"-1952,0-1-369,3-1-1352,0-2-400,0-5-488,0 0 256,0 0-216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9:28.334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573 3753,'111'3'2386,"-101"-3"-1642,0-1 0,0 0 1,1 0-1,-1-1 0,0-1 1,0 0-1,3-1-744,2-3 687,0 0 0,0-1 0,-1-1 0,0-1 0,5-3-687,-5 3 401,39-31 516,-3-2 1,-1-2 0,-2-2 0,15-21-918,162-218 860,-51 61-626,-102 138-112,47-80-122,-90 122 1,-1-2-1,-3-1 0,-2-1 1,12-42-1,-26 69-9,15-62-34,-22 79 41,0 0 0,0 0 1,-1 0-1,0 0 0,0 0 1,0 0-1,-1 0 0,1 1 0,-1-1 1,-1 0-1,1 0 0,0 0 1,-1 1-1,0-1 0,-1 0 2,1 3 0,1 0-1,-1 0 1,0 0 0,0 0-1,0 1 1,-1-1-1,1 1 1,0-1-1,-1 1 1,1 0 0,0 0-1,-1 0 1,0 0-1,1 0 1,-1 1-1,0-1 1,1 1 0,-1-1-1,0 1 1,1 0-1,-1 0 1,0 1-1,1-1 1,-2 0 0,-7 2-2,0 0-1,1 0 1,-1 0-1,0 2 1,-6 2 2,-19 10 10,1 1 1,1 2 0,0 2 0,2 0 0,1 3 0,-19 16-11,10-3 153,2 1 1,2 2-1,1 2 0,-16 25-153,36-45 109,1 1 0,1 1 0,1 0-1,0 0 1,2 1 0,1 0-1,1 1 1,2 0 0,0 0 0,2 1-1,0 5-108,3-9 22,0 1 0,2-1 0,1 0-1,1 0 1,1 0 0,0 0 0,2-1 0,1 1-1,1-1 1,0-1 0,2 0 0,1 0-1,2 3-21,13 14-88,1-1 0,2-1 0,1-2 0,1-1 0,3-1 0,0-2 0,2-1 0,1-2 0,1-2 0,12 5 88,82 43-287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3.702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57 5129,'12'2'6617,"-4"11"-3740,0 21-1647,-7-27-527,5 65 751,2 17-686,-7-82-720,1-1 1,-1 0-1,1 0 1,0 0-1,0 0 1,1 0-1,0 0 1,0-1-1,0 1 0,0-1 1,3 3-49,-4-7 19,-1 0 0,0 1 0,0-1 0,1 0 0,-1 0 0,1 0 0,-1 0 0,1 0 0,-1-1 0,1 1 0,-1 0 0,1-1 0,0 1 0,-1-1 0,1 0 0,0 1 0,-1-1 0,1 0 0,0 0 0,0 0 0,-1 0 0,1 0 0,0-1 0,0 1 0,-1 0 0,1-1 0,0 1 0,-1-1 0,1 0 0,-1 1 0,1-1 0,-1 0 0,1 0 0,-1 0 0,0 0 0,1 0 0,-1-1 0,0 1 0,0 0-19,9-8 91,-1-1-1,0 0 1,-1-1-1,0 1 0,-1-2-90,3-2 52,167-238 535,-175 249-633,-2 3-38,1-1-1,-1 0 1,1 0 0,-1 0-1,1 0 1,-1 0 0,1 1 0,-1-1-1,1 0 1,0 0 0,0 1-1,-1-1 1,1 0 0,0 1-1,0-1 1,-1 1 0,1-1 0,0 1-1,0-1 1,0 1 0,0 0-1,0-1 1,0 1 0,0 0-1,0 0 1,0 0 0,0 0 0,0 0-1,0 0 1,1 0 84,5 5-74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4.93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97 6401,'53'50'3501,"-50"-49"-3265,-1 0 0,1 0 0,-1 0 0,1 0 0,-1-1 1,1 1-1,-1-1 0,1 0 0,0 0 0,-1 0 0,1 0 0,-1 0 0,1 0 0,0-1 0,-1 1 0,1-1 0,-1 0 0,1 0 1,-1 0-1,0 0 0,1 0 0,1-2-236,43-29 2596,-47 32-2591,42-43 1442,-40 41-1412,0 0 0,0 0 0,-1-1 0,1 1 0,0-1 0,-1 0 0,0 1-1,1-1 1,-1 0 0,0 0 0,0 0 0,-1 0 0,1 1 0,-1-1 0,1 0-1,-1 0 1,0 0 0,0-1-35,0 3 5,-1 1 1,1-1-1,0 0 0,0 0 0,-1 0 0,1 1 0,0-1 1,-1 0-1,1 1 0,-1-1 0,1 0 0,-1 1 1,1-1-1,-1 0 0,1 1 0,-1-1 0,0 1 0,1-1 1,-1 1-1,0 0 0,1-1 0,-1 1 0,0-1 0,0 1 1,0 0-1,1 0 0,-1 0 0,0-1 0,0 1 1,0 0-6,-28 7 47,-22 26-72,42-26 20,1 0 1,0 1 0,0 0 0,1 0 0,0 1 0,0 0 0,1 0 0,0 0 0,1 1-1,-2 3 5,5-9 4,1 0-1,0 0 0,-1 0 1,1 0-1,1 0 0,-1 0 1,0 1-1,1-1 0,0 0 1,0 0-1,1 0 0,-1 1 0,1-1 1,0 0-1,0 0 0,0 0 1,0 0-1,1 0 0,-1 0 1,1 0-1,0-1 0,1 1 0,-1-1 1,0 1-1,1-1 0,0 0 1,0 0-1,0 0 0,0 0-3,5 3 8,0 0 1,1 0-1,-1-1 0,1 0 0,0-1 0,1 0 0,-1-1 1,1 1-1,0-2 0,6 2-8,24 3 29,41 3-29,-68-9 3,14 1-262,0-2 0,1 0-1,-1-2 1,1-1 259,14-3-36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12-10T17:35:58.617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35 29 4257,'-1'-2'344,"1"0"0,-1 0 1,0 0-1,0 0 0,0 1 0,0-1 1,0 0-1,0 0 0,-1 1 0,1-1 1,-1 1-1,0-2-344,-17-1 7019,28 35-5541,34 76-684,5-2 0,35 54-794,10-18 126,-61-96-107,-1 1-1,-3 2 1,-2 1-1,-1 1 1,-1 7-19,88 289 60,-88-250-29,-3 1-1,4 66-30,-17-85 30,-3 0 0,-4 0 0,-2 0 0,-5 0 0,-9 42-30,-45 319-1071,56-429-1959,4-10 22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0 Decem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931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7.png"/><Relationship Id="rId21" Type="http://schemas.openxmlformats.org/officeDocument/2006/relationships/customXml" Target="../ink/ink6.xml"/><Relationship Id="rId42" Type="http://schemas.openxmlformats.org/officeDocument/2006/relationships/image" Target="../media/image25.png"/><Relationship Id="rId47" Type="http://schemas.openxmlformats.org/officeDocument/2006/relationships/customXml" Target="../ink/ink19.xml"/><Relationship Id="rId63" Type="http://schemas.openxmlformats.org/officeDocument/2006/relationships/customXml" Target="../ink/ink27.xml"/><Relationship Id="rId68" Type="http://schemas.openxmlformats.org/officeDocument/2006/relationships/image" Target="../media/image38.png"/><Relationship Id="rId84" Type="http://schemas.openxmlformats.org/officeDocument/2006/relationships/image" Target="../media/image46.png"/><Relationship Id="rId16" Type="http://schemas.openxmlformats.org/officeDocument/2006/relationships/image" Target="../media/image12.png"/><Relationship Id="rId11" Type="http://schemas.openxmlformats.org/officeDocument/2006/relationships/customXml" Target="../ink/ink1.xml"/><Relationship Id="rId32" Type="http://schemas.openxmlformats.org/officeDocument/2006/relationships/image" Target="../media/image20.png"/><Relationship Id="rId37" Type="http://schemas.openxmlformats.org/officeDocument/2006/relationships/customXml" Target="../ink/ink14.xml"/><Relationship Id="rId53" Type="http://schemas.openxmlformats.org/officeDocument/2006/relationships/customXml" Target="../ink/ink22.xml"/><Relationship Id="rId58" Type="http://schemas.openxmlformats.org/officeDocument/2006/relationships/image" Target="../media/image33.png"/><Relationship Id="rId74" Type="http://schemas.openxmlformats.org/officeDocument/2006/relationships/image" Target="../media/image41.png"/><Relationship Id="rId79" Type="http://schemas.openxmlformats.org/officeDocument/2006/relationships/customXml" Target="../ink/ink35.xml"/><Relationship Id="rId5" Type="http://schemas.openxmlformats.org/officeDocument/2006/relationships/tags" Target="../tags/tag273.xml"/><Relationship Id="rId19" Type="http://schemas.openxmlformats.org/officeDocument/2006/relationships/customXml" Target="../ink/ink5.xml"/><Relationship Id="rId14" Type="http://schemas.openxmlformats.org/officeDocument/2006/relationships/image" Target="../media/image11.png"/><Relationship Id="rId22" Type="http://schemas.openxmlformats.org/officeDocument/2006/relationships/image" Target="../media/image15.png"/><Relationship Id="rId27" Type="http://schemas.openxmlformats.org/officeDocument/2006/relationships/customXml" Target="../ink/ink9.xml"/><Relationship Id="rId30" Type="http://schemas.openxmlformats.org/officeDocument/2006/relationships/image" Target="../media/image19.png"/><Relationship Id="rId35" Type="http://schemas.openxmlformats.org/officeDocument/2006/relationships/customXml" Target="../ink/ink13.xml"/><Relationship Id="rId43" Type="http://schemas.openxmlformats.org/officeDocument/2006/relationships/customXml" Target="../ink/ink17.xml"/><Relationship Id="rId48" Type="http://schemas.openxmlformats.org/officeDocument/2006/relationships/image" Target="../media/image28.png"/><Relationship Id="rId56" Type="http://schemas.openxmlformats.org/officeDocument/2006/relationships/image" Target="../media/image32.png"/><Relationship Id="rId64" Type="http://schemas.openxmlformats.org/officeDocument/2006/relationships/image" Target="../media/image36.png"/><Relationship Id="rId69" Type="http://schemas.openxmlformats.org/officeDocument/2006/relationships/customXml" Target="../ink/ink30.xml"/><Relationship Id="rId77" Type="http://schemas.openxmlformats.org/officeDocument/2006/relationships/customXml" Target="../ink/ink34.xml"/><Relationship Id="rId8" Type="http://schemas.openxmlformats.org/officeDocument/2006/relationships/oleObject" Target="../embeddings/oleObject18.bin"/><Relationship Id="rId51" Type="http://schemas.openxmlformats.org/officeDocument/2006/relationships/customXml" Target="../ink/ink21.xml"/><Relationship Id="rId72" Type="http://schemas.openxmlformats.org/officeDocument/2006/relationships/image" Target="../media/image40.png"/><Relationship Id="rId80" Type="http://schemas.openxmlformats.org/officeDocument/2006/relationships/image" Target="../media/image44.png"/><Relationship Id="rId85" Type="http://schemas.openxmlformats.org/officeDocument/2006/relationships/customXml" Target="../ink/ink38.xml"/><Relationship Id="rId3" Type="http://schemas.openxmlformats.org/officeDocument/2006/relationships/tags" Target="../tags/tag271.xml"/><Relationship Id="rId12" Type="http://schemas.openxmlformats.org/officeDocument/2006/relationships/image" Target="../media/image10.png"/><Relationship Id="rId17" Type="http://schemas.openxmlformats.org/officeDocument/2006/relationships/customXml" Target="../ink/ink4.xml"/><Relationship Id="rId25" Type="http://schemas.openxmlformats.org/officeDocument/2006/relationships/customXml" Target="../ink/ink8.xml"/><Relationship Id="rId33" Type="http://schemas.openxmlformats.org/officeDocument/2006/relationships/customXml" Target="../ink/ink12.xml"/><Relationship Id="rId38" Type="http://schemas.openxmlformats.org/officeDocument/2006/relationships/image" Target="../media/image23.png"/><Relationship Id="rId46" Type="http://schemas.openxmlformats.org/officeDocument/2006/relationships/image" Target="../media/image27.png"/><Relationship Id="rId59" Type="http://schemas.openxmlformats.org/officeDocument/2006/relationships/customXml" Target="../ink/ink25.xml"/><Relationship Id="rId67" Type="http://schemas.openxmlformats.org/officeDocument/2006/relationships/customXml" Target="../ink/ink29.xml"/><Relationship Id="rId20" Type="http://schemas.openxmlformats.org/officeDocument/2006/relationships/image" Target="../media/image14.png"/><Relationship Id="rId41" Type="http://schemas.openxmlformats.org/officeDocument/2006/relationships/customXml" Target="../ink/ink16.xml"/><Relationship Id="rId54" Type="http://schemas.openxmlformats.org/officeDocument/2006/relationships/image" Target="../media/image31.png"/><Relationship Id="rId62" Type="http://schemas.openxmlformats.org/officeDocument/2006/relationships/image" Target="../media/image35.png"/><Relationship Id="rId70" Type="http://schemas.openxmlformats.org/officeDocument/2006/relationships/image" Target="../media/image39.png"/><Relationship Id="rId75" Type="http://schemas.openxmlformats.org/officeDocument/2006/relationships/customXml" Target="../ink/ink33.xml"/><Relationship Id="rId83" Type="http://schemas.openxmlformats.org/officeDocument/2006/relationships/customXml" Target="../ink/ink3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15" Type="http://schemas.openxmlformats.org/officeDocument/2006/relationships/customXml" Target="../ink/ink3.xml"/><Relationship Id="rId23" Type="http://schemas.openxmlformats.org/officeDocument/2006/relationships/customXml" Target="../ink/ink7.xml"/><Relationship Id="rId28" Type="http://schemas.openxmlformats.org/officeDocument/2006/relationships/image" Target="../media/image18.png"/><Relationship Id="rId36" Type="http://schemas.openxmlformats.org/officeDocument/2006/relationships/image" Target="../media/image22.png"/><Relationship Id="rId49" Type="http://schemas.openxmlformats.org/officeDocument/2006/relationships/customXml" Target="../ink/ink20.xml"/><Relationship Id="rId57" Type="http://schemas.openxmlformats.org/officeDocument/2006/relationships/customXml" Target="../ink/ink24.xml"/><Relationship Id="rId10" Type="http://schemas.openxmlformats.org/officeDocument/2006/relationships/image" Target="../media/image9.png"/><Relationship Id="rId31" Type="http://schemas.openxmlformats.org/officeDocument/2006/relationships/customXml" Target="../ink/ink11.xml"/><Relationship Id="rId44" Type="http://schemas.openxmlformats.org/officeDocument/2006/relationships/image" Target="../media/image26.png"/><Relationship Id="rId52" Type="http://schemas.openxmlformats.org/officeDocument/2006/relationships/image" Target="../media/image30.png"/><Relationship Id="rId60" Type="http://schemas.openxmlformats.org/officeDocument/2006/relationships/image" Target="../media/image34.png"/><Relationship Id="rId65" Type="http://schemas.openxmlformats.org/officeDocument/2006/relationships/customXml" Target="../ink/ink28.xml"/><Relationship Id="rId73" Type="http://schemas.openxmlformats.org/officeDocument/2006/relationships/customXml" Target="../ink/ink32.xml"/><Relationship Id="rId78" Type="http://schemas.openxmlformats.org/officeDocument/2006/relationships/image" Target="../media/image43.png"/><Relationship Id="rId81" Type="http://schemas.openxmlformats.org/officeDocument/2006/relationships/customXml" Target="../ink/ink36.xml"/><Relationship Id="rId86" Type="http://schemas.openxmlformats.org/officeDocument/2006/relationships/image" Target="../media/image47.png"/><Relationship Id="rId4" Type="http://schemas.openxmlformats.org/officeDocument/2006/relationships/tags" Target="../tags/tag272.xml"/><Relationship Id="rId9" Type="http://schemas.openxmlformats.org/officeDocument/2006/relationships/image" Target="../media/image8.emf"/><Relationship Id="rId13" Type="http://schemas.openxmlformats.org/officeDocument/2006/relationships/customXml" Target="../ink/ink2.xml"/><Relationship Id="rId18" Type="http://schemas.openxmlformats.org/officeDocument/2006/relationships/image" Target="../media/image13.png"/><Relationship Id="rId39" Type="http://schemas.openxmlformats.org/officeDocument/2006/relationships/customXml" Target="../ink/ink15.xml"/><Relationship Id="rId34" Type="http://schemas.openxmlformats.org/officeDocument/2006/relationships/image" Target="../media/image21.png"/><Relationship Id="rId50" Type="http://schemas.openxmlformats.org/officeDocument/2006/relationships/image" Target="../media/image29.png"/><Relationship Id="rId55" Type="http://schemas.openxmlformats.org/officeDocument/2006/relationships/customXml" Target="../ink/ink23.xml"/><Relationship Id="rId76" Type="http://schemas.openxmlformats.org/officeDocument/2006/relationships/image" Target="../media/image42.png"/><Relationship Id="rId7" Type="http://schemas.openxmlformats.org/officeDocument/2006/relationships/slideLayout" Target="../slideLayouts/slideLayout3.xml"/><Relationship Id="rId71" Type="http://schemas.openxmlformats.org/officeDocument/2006/relationships/customXml" Target="../ink/ink31.xml"/><Relationship Id="rId2" Type="http://schemas.openxmlformats.org/officeDocument/2006/relationships/tags" Target="../tags/tag270.xml"/><Relationship Id="rId29" Type="http://schemas.openxmlformats.org/officeDocument/2006/relationships/customXml" Target="../ink/ink10.xml"/><Relationship Id="rId24" Type="http://schemas.openxmlformats.org/officeDocument/2006/relationships/image" Target="../media/image16.png"/><Relationship Id="rId40" Type="http://schemas.openxmlformats.org/officeDocument/2006/relationships/image" Target="../media/image24.png"/><Relationship Id="rId45" Type="http://schemas.openxmlformats.org/officeDocument/2006/relationships/customXml" Target="../ink/ink18.xml"/><Relationship Id="rId66" Type="http://schemas.openxmlformats.org/officeDocument/2006/relationships/image" Target="../media/image37.png"/><Relationship Id="rId61" Type="http://schemas.openxmlformats.org/officeDocument/2006/relationships/customXml" Target="../ink/ink26.xml"/><Relationship Id="rId82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2.png"/><Relationship Id="rId18" Type="http://schemas.openxmlformats.org/officeDocument/2006/relationships/customXml" Target="../ink/ink45.xml"/><Relationship Id="rId26" Type="http://schemas.openxmlformats.org/officeDocument/2006/relationships/image" Target="../media/image59.png"/><Relationship Id="rId39" Type="http://schemas.openxmlformats.org/officeDocument/2006/relationships/customXml" Target="../ink/ink55.xml"/><Relationship Id="rId21" Type="http://schemas.openxmlformats.org/officeDocument/2006/relationships/image" Target="../media/image56.png"/><Relationship Id="rId34" Type="http://schemas.openxmlformats.org/officeDocument/2006/relationships/image" Target="../media/image63.png"/><Relationship Id="rId42" Type="http://schemas.openxmlformats.org/officeDocument/2006/relationships/image" Target="../media/image67.png"/><Relationship Id="rId47" Type="http://schemas.openxmlformats.org/officeDocument/2006/relationships/customXml" Target="../ink/ink59.xml"/><Relationship Id="rId50" Type="http://schemas.openxmlformats.org/officeDocument/2006/relationships/image" Target="../media/image71.png"/><Relationship Id="rId55" Type="http://schemas.openxmlformats.org/officeDocument/2006/relationships/customXml" Target="../ink/ink63.xml"/><Relationship Id="rId7" Type="http://schemas.openxmlformats.org/officeDocument/2006/relationships/image" Target="../media/image49.png"/><Relationship Id="rId2" Type="http://schemas.openxmlformats.org/officeDocument/2006/relationships/tags" Target="../tags/tag276.xml"/><Relationship Id="rId16" Type="http://schemas.openxmlformats.org/officeDocument/2006/relationships/customXml" Target="../ink/ink44.xml"/><Relationship Id="rId29" Type="http://schemas.openxmlformats.org/officeDocument/2006/relationships/customXml" Target="../ink/ink50.xml"/><Relationship Id="rId11" Type="http://schemas.openxmlformats.org/officeDocument/2006/relationships/image" Target="../media/image51.png"/><Relationship Id="rId24" Type="http://schemas.openxmlformats.org/officeDocument/2006/relationships/image" Target="../media/image58.png"/><Relationship Id="rId32" Type="http://schemas.openxmlformats.org/officeDocument/2006/relationships/image" Target="../media/image62.png"/><Relationship Id="rId37" Type="http://schemas.openxmlformats.org/officeDocument/2006/relationships/customXml" Target="../ink/ink54.xml"/><Relationship Id="rId40" Type="http://schemas.openxmlformats.org/officeDocument/2006/relationships/image" Target="../media/image66.png"/><Relationship Id="rId45" Type="http://schemas.openxmlformats.org/officeDocument/2006/relationships/customXml" Target="../ink/ink58.xml"/><Relationship Id="rId53" Type="http://schemas.openxmlformats.org/officeDocument/2006/relationships/customXml" Target="../ink/ink62.xml"/><Relationship Id="rId5" Type="http://schemas.openxmlformats.org/officeDocument/2006/relationships/image" Target="../media/image48.png"/><Relationship Id="rId10" Type="http://schemas.openxmlformats.org/officeDocument/2006/relationships/customXml" Target="../ink/ink41.xml"/><Relationship Id="rId19" Type="http://schemas.openxmlformats.org/officeDocument/2006/relationships/image" Target="../media/image55.png"/><Relationship Id="rId31" Type="http://schemas.openxmlformats.org/officeDocument/2006/relationships/customXml" Target="../ink/ink51.xml"/><Relationship Id="rId44" Type="http://schemas.openxmlformats.org/officeDocument/2006/relationships/image" Target="../media/image68.png"/><Relationship Id="rId52" Type="http://schemas.openxmlformats.org/officeDocument/2006/relationships/image" Target="../media/image7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0.png"/><Relationship Id="rId14" Type="http://schemas.openxmlformats.org/officeDocument/2006/relationships/customXml" Target="../ink/ink43.xml"/><Relationship Id="rId22" Type="http://schemas.openxmlformats.org/officeDocument/2006/relationships/image" Target="../media/image57.png"/><Relationship Id="rId27" Type="http://schemas.openxmlformats.org/officeDocument/2006/relationships/customXml" Target="../ink/ink49.xml"/><Relationship Id="rId30" Type="http://schemas.openxmlformats.org/officeDocument/2006/relationships/image" Target="../media/image61.png"/><Relationship Id="rId35" Type="http://schemas.openxmlformats.org/officeDocument/2006/relationships/customXml" Target="../ink/ink53.xml"/><Relationship Id="rId43" Type="http://schemas.openxmlformats.org/officeDocument/2006/relationships/customXml" Target="../ink/ink57.xml"/><Relationship Id="rId48" Type="http://schemas.openxmlformats.org/officeDocument/2006/relationships/image" Target="../media/image70.png"/><Relationship Id="rId56" Type="http://schemas.openxmlformats.org/officeDocument/2006/relationships/image" Target="../media/image74.png"/><Relationship Id="rId8" Type="http://schemas.openxmlformats.org/officeDocument/2006/relationships/customXml" Target="../ink/ink40.xml"/><Relationship Id="rId51" Type="http://schemas.openxmlformats.org/officeDocument/2006/relationships/customXml" Target="../ink/ink61.xml"/><Relationship Id="rId3" Type="http://schemas.openxmlformats.org/officeDocument/2006/relationships/tags" Target="../tags/tag277.xml"/><Relationship Id="rId12" Type="http://schemas.openxmlformats.org/officeDocument/2006/relationships/customXml" Target="../ink/ink42.xml"/><Relationship Id="rId17" Type="http://schemas.openxmlformats.org/officeDocument/2006/relationships/image" Target="../media/image54.png"/><Relationship Id="rId25" Type="http://schemas.openxmlformats.org/officeDocument/2006/relationships/customXml" Target="../ink/ink48.xml"/><Relationship Id="rId33" Type="http://schemas.openxmlformats.org/officeDocument/2006/relationships/customXml" Target="../ink/ink52.xml"/><Relationship Id="rId38" Type="http://schemas.openxmlformats.org/officeDocument/2006/relationships/image" Target="../media/image65.png"/><Relationship Id="rId46" Type="http://schemas.openxmlformats.org/officeDocument/2006/relationships/image" Target="../media/image69.png"/><Relationship Id="rId20" Type="http://schemas.openxmlformats.org/officeDocument/2006/relationships/customXml" Target="../ink/ink46.xml"/><Relationship Id="rId41" Type="http://schemas.openxmlformats.org/officeDocument/2006/relationships/customXml" Target="../ink/ink56.xml"/><Relationship Id="rId54" Type="http://schemas.openxmlformats.org/officeDocument/2006/relationships/image" Target="../media/image73.png"/><Relationship Id="rId1" Type="http://schemas.openxmlformats.org/officeDocument/2006/relationships/tags" Target="../tags/tag275.xml"/><Relationship Id="rId6" Type="http://schemas.openxmlformats.org/officeDocument/2006/relationships/customXml" Target="../ink/ink39.xml"/><Relationship Id="rId15" Type="http://schemas.openxmlformats.org/officeDocument/2006/relationships/image" Target="../media/image53.png"/><Relationship Id="rId23" Type="http://schemas.openxmlformats.org/officeDocument/2006/relationships/customXml" Target="../ink/ink47.xml"/><Relationship Id="rId28" Type="http://schemas.openxmlformats.org/officeDocument/2006/relationships/image" Target="../media/image60.png"/><Relationship Id="rId36" Type="http://schemas.openxmlformats.org/officeDocument/2006/relationships/image" Target="../media/image64.png"/><Relationship Id="rId49" Type="http://schemas.openxmlformats.org/officeDocument/2006/relationships/customXml" Target="../ink/ink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9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1" name="think-cell Slide" r:id="rId8" imgW="423" imgH="424" progId="TCLayout.ActiveDocument.1">
                  <p:embed/>
                </p:oleObj>
              </mc:Choice>
              <mc:Fallback>
                <p:oleObj name="think-cell Slide" r:id="rId8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AB2B6DE-B65F-4AD9-BACF-05469A0CE26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Chapter</a:t>
            </a:r>
            <a:endParaRPr lang="en-US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BEF786-B6BE-4345-A239-CA6042C4968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537280"/>
            <a:ext cx="12192000" cy="3243508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C2D6510D-F873-49A9-8F85-305F81101BC4}"/>
              </a:ext>
            </a:extLst>
          </p:cNvPr>
          <p:cNvGrpSpPr/>
          <p:nvPr/>
        </p:nvGrpSpPr>
        <p:grpSpPr>
          <a:xfrm>
            <a:off x="5396177" y="935846"/>
            <a:ext cx="2922840" cy="1665720"/>
            <a:chOff x="5396177" y="935846"/>
            <a:chExt cx="2922840" cy="16657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8038FE29-2283-4C7C-ABEC-50C49E850284}"/>
                    </a:ext>
                  </a:extLst>
                </p14:cNvPr>
                <p14:cNvContentPartPr/>
                <p14:nvPr/>
              </p14:nvContentPartPr>
              <p14:xfrm>
                <a:off x="5396177" y="1678886"/>
                <a:ext cx="1276560" cy="92268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8038FE29-2283-4C7C-ABEC-50C49E850284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5391857" y="1674566"/>
                  <a:ext cx="1285200" cy="931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C74A5B7F-3A7A-4E45-9AD4-A926F522876F}"/>
                    </a:ext>
                  </a:extLst>
                </p14:cNvPr>
                <p14:cNvContentPartPr/>
                <p14:nvPr/>
              </p14:nvContentPartPr>
              <p14:xfrm>
                <a:off x="6491297" y="1192886"/>
                <a:ext cx="516600" cy="45684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C74A5B7F-3A7A-4E45-9AD4-A926F522876F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6486977" y="1188566"/>
                  <a:ext cx="525240" cy="465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4B8DE9D2-F014-490C-887B-8718EB6D2933}"/>
                    </a:ext>
                  </a:extLst>
                </p14:cNvPr>
                <p14:cNvContentPartPr/>
                <p14:nvPr/>
              </p14:nvContentPartPr>
              <p14:xfrm>
                <a:off x="7157657" y="1014686"/>
                <a:ext cx="32760" cy="25164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4B8DE9D2-F014-490C-887B-8718EB6D293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7153337" y="1010366"/>
                  <a:ext cx="4140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6CCEB810-3FF7-490A-B84C-159C58622D79}"/>
                    </a:ext>
                  </a:extLst>
                </p14:cNvPr>
                <p14:cNvContentPartPr/>
                <p14:nvPr/>
              </p14:nvContentPartPr>
              <p14:xfrm>
                <a:off x="7163057" y="935846"/>
                <a:ext cx="187920" cy="2761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6CCEB810-3FF7-490A-B84C-159C58622D79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7158737" y="931526"/>
                  <a:ext cx="196560" cy="284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510E515C-EA0E-4EAA-AB63-9FA275A892FB}"/>
                    </a:ext>
                  </a:extLst>
                </p14:cNvPr>
                <p14:cNvContentPartPr/>
                <p14:nvPr/>
              </p14:nvContentPartPr>
              <p14:xfrm>
                <a:off x="7404257" y="1065806"/>
                <a:ext cx="377280" cy="20052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510E515C-EA0E-4EAA-AB63-9FA275A892FB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7399937" y="1061486"/>
                  <a:ext cx="385920" cy="209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EF6CCF6F-D17D-40B2-ACBD-D6D997D1566E}"/>
                    </a:ext>
                  </a:extLst>
                </p14:cNvPr>
                <p14:cNvContentPartPr/>
                <p14:nvPr/>
              </p14:nvContentPartPr>
              <p14:xfrm>
                <a:off x="7825817" y="1069406"/>
                <a:ext cx="102600" cy="1569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EF6CCF6F-D17D-40B2-ACBD-D6D997D1566E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7821497" y="1065086"/>
                  <a:ext cx="11124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A41A3619-F0B4-4D14-8028-B9977C8EAD3E}"/>
                    </a:ext>
                  </a:extLst>
                </p14:cNvPr>
                <p14:cNvContentPartPr/>
                <p14:nvPr/>
              </p14:nvContentPartPr>
              <p14:xfrm>
                <a:off x="7994297" y="1056446"/>
                <a:ext cx="146880" cy="12996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A41A3619-F0B4-4D14-8028-B9977C8EAD3E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7989977" y="1052126"/>
                  <a:ext cx="155520" cy="13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854D4F6E-ACA1-43E0-BF26-91722CC5EBFA}"/>
                    </a:ext>
                  </a:extLst>
                </p14:cNvPr>
                <p14:cNvContentPartPr/>
                <p14:nvPr/>
              </p14:nvContentPartPr>
              <p14:xfrm>
                <a:off x="8141897" y="1051046"/>
                <a:ext cx="177120" cy="11592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854D4F6E-ACA1-43E0-BF26-91722CC5EBFA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8137577" y="1046726"/>
                  <a:ext cx="185760" cy="124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7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80A07D28-9A2A-4BAC-91B6-74CE64AA63D1}"/>
                  </a:ext>
                </a:extLst>
              </p14:cNvPr>
              <p14:cNvContentPartPr/>
              <p14:nvPr/>
            </p14:nvContentPartPr>
            <p14:xfrm>
              <a:off x="2793017" y="837206"/>
              <a:ext cx="230400" cy="900360"/>
            </p14:xfrm>
          </p:contentPart>
        </mc:Choice>
        <mc:Fallback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80A07D28-9A2A-4BAC-91B6-74CE64AA63D1}"/>
                  </a:ext>
                </a:extLst>
              </p:cNvPr>
              <p:cNvPicPr/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2788697" y="832886"/>
                <a:ext cx="239040" cy="90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9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99C0CBFC-1728-44BC-900D-F40DDAC88F3B}"/>
                  </a:ext>
                </a:extLst>
              </p14:cNvPr>
              <p14:cNvContentPartPr/>
              <p14:nvPr/>
            </p14:nvContentPartPr>
            <p14:xfrm>
              <a:off x="2871497" y="1580246"/>
              <a:ext cx="255960" cy="156240"/>
            </p14:xfrm>
          </p:contentPart>
        </mc:Choice>
        <mc:Fallback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99C0CBFC-1728-44BC-900D-F40DDAC88F3B}"/>
                  </a:ext>
                </a:extLst>
              </p:cNvPr>
              <p:cNvPicPr/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2867177" y="1575926"/>
                <a:ext cx="264600" cy="164880"/>
              </a:xfrm>
              <a:prstGeom prst="rect">
                <a:avLst/>
              </a:prstGeom>
            </p:spPr>
          </p:pic>
        </mc:Fallback>
      </mc:AlternateContent>
      <p:grpSp>
        <p:nvGrpSpPr>
          <p:cNvPr id="49" name="Group 48">
            <a:extLst>
              <a:ext uri="{FF2B5EF4-FFF2-40B4-BE49-F238E27FC236}">
                <a16:creationId xmlns:a16="http://schemas.microsoft.com/office/drawing/2014/main" id="{544CC34D-7B79-47F4-9AF9-75F1375E7425}"/>
              </a:ext>
            </a:extLst>
          </p:cNvPr>
          <p:cNvGrpSpPr/>
          <p:nvPr/>
        </p:nvGrpSpPr>
        <p:grpSpPr>
          <a:xfrm>
            <a:off x="1777097" y="121526"/>
            <a:ext cx="2876040" cy="886320"/>
            <a:chOff x="1777097" y="121526"/>
            <a:chExt cx="2876040" cy="886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F0DFDDC8-3565-44B3-BE10-690ECC2CC866}"/>
                    </a:ext>
                  </a:extLst>
                </p14:cNvPr>
                <p14:cNvContentPartPr/>
                <p14:nvPr/>
              </p14:nvContentPartPr>
              <p14:xfrm>
                <a:off x="1862777" y="297926"/>
                <a:ext cx="5760" cy="26460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F0DFDDC8-3565-44B3-BE10-690ECC2CC866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1858457" y="293606"/>
                  <a:ext cx="14400" cy="27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38AAA1CC-E18B-4D83-A434-02FC272B20CF}"/>
                    </a:ext>
                  </a:extLst>
                </p14:cNvPr>
                <p14:cNvContentPartPr/>
                <p14:nvPr/>
              </p14:nvContentPartPr>
              <p14:xfrm>
                <a:off x="1777097" y="241046"/>
                <a:ext cx="220320" cy="14616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38AAA1CC-E18B-4D83-A434-02FC272B20CF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1772777" y="236726"/>
                  <a:ext cx="228960" cy="15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2BB7E994-2B7E-4057-9746-CBC63229DC5E}"/>
                    </a:ext>
                  </a:extLst>
                </p14:cNvPr>
                <p14:cNvContentPartPr/>
                <p14:nvPr/>
              </p14:nvContentPartPr>
              <p14:xfrm>
                <a:off x="2034137" y="223406"/>
                <a:ext cx="30240" cy="30744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2BB7E994-2B7E-4057-9746-CBC63229DC5E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2029817" y="219086"/>
                  <a:ext cx="38880" cy="31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C8688A89-DE05-4DF2-B2F4-F9164D6060C7}"/>
                    </a:ext>
                  </a:extLst>
                </p14:cNvPr>
                <p14:cNvContentPartPr/>
                <p14:nvPr/>
              </p14:nvContentPartPr>
              <p14:xfrm>
                <a:off x="2069777" y="349406"/>
                <a:ext cx="117000" cy="18000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C8688A89-DE05-4DF2-B2F4-F9164D6060C7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2065457" y="345086"/>
                  <a:ext cx="125640" cy="18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8B74F741-00B6-47DA-AC0B-31C2ABB5B17C}"/>
                    </a:ext>
                  </a:extLst>
                </p14:cNvPr>
                <p14:cNvContentPartPr/>
                <p14:nvPr/>
              </p14:nvContentPartPr>
              <p14:xfrm>
                <a:off x="2208017" y="337166"/>
                <a:ext cx="135720" cy="16632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8B74F741-00B6-47DA-AC0B-31C2ABB5B17C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2203697" y="332846"/>
                  <a:ext cx="144360" cy="17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1049816F-F587-4D75-9A63-7B791F3D92F6}"/>
                    </a:ext>
                  </a:extLst>
                </p14:cNvPr>
                <p14:cNvContentPartPr/>
                <p14:nvPr/>
              </p14:nvContentPartPr>
              <p14:xfrm>
                <a:off x="2354177" y="319526"/>
                <a:ext cx="236520" cy="18792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1049816F-F587-4D75-9A63-7B791F3D92F6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2349857" y="315206"/>
                  <a:ext cx="245160" cy="19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FDD888C6-7680-4E74-9355-F3EBCA92CA5D}"/>
                    </a:ext>
                  </a:extLst>
                </p14:cNvPr>
                <p14:cNvContentPartPr/>
                <p14:nvPr/>
              </p14:nvContentPartPr>
              <p14:xfrm>
                <a:off x="2749097" y="302966"/>
                <a:ext cx="118800" cy="12024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FDD888C6-7680-4E74-9355-F3EBCA92CA5D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2744777" y="298646"/>
                  <a:ext cx="12744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28" name="Ink 27">
                  <a:extLst>
                    <a:ext uri="{FF2B5EF4-FFF2-40B4-BE49-F238E27FC236}">
                      <a16:creationId xmlns:a16="http://schemas.microsoft.com/office/drawing/2014/main" id="{72BE99A4-8D24-4FF0-9A50-34F0F2DFD137}"/>
                    </a:ext>
                  </a:extLst>
                </p14:cNvPr>
                <p14:cNvContentPartPr/>
                <p14:nvPr/>
              </p14:nvContentPartPr>
              <p14:xfrm>
                <a:off x="2895977" y="282806"/>
                <a:ext cx="245880" cy="161280"/>
              </p14:xfrm>
            </p:contentPart>
          </mc:Choice>
          <mc:Fallback>
            <p:pic>
              <p:nvPicPr>
                <p:cNvPr id="28" name="Ink 27">
                  <a:extLst>
                    <a:ext uri="{FF2B5EF4-FFF2-40B4-BE49-F238E27FC236}">
                      <a16:creationId xmlns:a16="http://schemas.microsoft.com/office/drawing/2014/main" id="{72BE99A4-8D24-4FF0-9A50-34F0F2DFD137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2891657" y="278486"/>
                  <a:ext cx="254520" cy="16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FCFD68E3-0DC2-4635-BA3F-DFF7A1E5FD62}"/>
                    </a:ext>
                  </a:extLst>
                </p14:cNvPr>
                <p14:cNvContentPartPr/>
                <p14:nvPr/>
              </p14:nvContentPartPr>
              <p14:xfrm>
                <a:off x="3296297" y="290006"/>
                <a:ext cx="122400" cy="17568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FCFD68E3-0DC2-4635-BA3F-DFF7A1E5FD62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3291977" y="285686"/>
                  <a:ext cx="131040" cy="18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30" name="Ink 29">
                  <a:extLst>
                    <a:ext uri="{FF2B5EF4-FFF2-40B4-BE49-F238E27FC236}">
                      <a16:creationId xmlns:a16="http://schemas.microsoft.com/office/drawing/2014/main" id="{AA8825CA-3133-4E28-A670-248AEF786D22}"/>
                    </a:ext>
                  </a:extLst>
                </p14:cNvPr>
                <p14:cNvContentPartPr/>
                <p14:nvPr/>
              </p14:nvContentPartPr>
              <p14:xfrm>
                <a:off x="3447857" y="290366"/>
                <a:ext cx="98280" cy="161280"/>
              </p14:xfrm>
            </p:contentPart>
          </mc:Choice>
          <mc:Fallback>
            <p:pic>
              <p:nvPicPr>
                <p:cNvPr id="30" name="Ink 29">
                  <a:extLst>
                    <a:ext uri="{FF2B5EF4-FFF2-40B4-BE49-F238E27FC236}">
                      <a16:creationId xmlns:a16="http://schemas.microsoft.com/office/drawing/2014/main" id="{AA8825CA-3133-4E28-A670-248AEF786D22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3443537" y="286046"/>
                  <a:ext cx="106920" cy="16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31" name="Ink 30">
                  <a:extLst>
                    <a:ext uri="{FF2B5EF4-FFF2-40B4-BE49-F238E27FC236}">
                      <a16:creationId xmlns:a16="http://schemas.microsoft.com/office/drawing/2014/main" id="{1893D5D8-D965-445B-9ADA-13C545E624C2}"/>
                    </a:ext>
                  </a:extLst>
                </p14:cNvPr>
                <p14:cNvContentPartPr/>
                <p14:nvPr/>
              </p14:nvContentPartPr>
              <p14:xfrm>
                <a:off x="3569177" y="296846"/>
                <a:ext cx="172080" cy="153720"/>
              </p14:xfrm>
            </p:contentPart>
          </mc:Choice>
          <mc:Fallback>
            <p:pic>
              <p:nvPicPr>
                <p:cNvPr id="31" name="Ink 30">
                  <a:extLst>
                    <a:ext uri="{FF2B5EF4-FFF2-40B4-BE49-F238E27FC236}">
                      <a16:creationId xmlns:a16="http://schemas.microsoft.com/office/drawing/2014/main" id="{1893D5D8-D965-445B-9ADA-13C545E624C2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3564857" y="292526"/>
                  <a:ext cx="180720" cy="16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43289CA4-68BB-44C0-A74D-CF2F6F6B3BA3}"/>
                    </a:ext>
                  </a:extLst>
                </p14:cNvPr>
                <p14:cNvContentPartPr/>
                <p14:nvPr/>
              </p14:nvContentPartPr>
              <p14:xfrm>
                <a:off x="3881657" y="121526"/>
                <a:ext cx="133920" cy="31176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43289CA4-68BB-44C0-A74D-CF2F6F6B3BA3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3877337" y="117206"/>
                  <a:ext cx="142560" cy="32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9B17FE8F-EA9C-4F6D-8C25-D6A8E91F7A19}"/>
                    </a:ext>
                  </a:extLst>
                </p14:cNvPr>
                <p14:cNvContentPartPr/>
                <p14:nvPr/>
              </p14:nvContentPartPr>
              <p14:xfrm>
                <a:off x="4039697" y="275246"/>
                <a:ext cx="138600" cy="14976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9B17FE8F-EA9C-4F6D-8C25-D6A8E91F7A19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4035377" y="270926"/>
                  <a:ext cx="147240" cy="15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7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770A0CC8-1E59-4F39-BD3E-DBE630E1EE6C}"/>
                    </a:ext>
                  </a:extLst>
                </p14:cNvPr>
                <p14:cNvContentPartPr/>
                <p14:nvPr/>
              </p14:nvContentPartPr>
              <p14:xfrm>
                <a:off x="4214297" y="277766"/>
                <a:ext cx="73080" cy="13752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770A0CC8-1E59-4F39-BD3E-DBE630E1EE6C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4209977" y="273446"/>
                  <a:ext cx="81720" cy="14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9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B7AA9838-CF11-4A94-8FB2-8F5B8F06E0A1}"/>
                    </a:ext>
                  </a:extLst>
                </p14:cNvPr>
                <p14:cNvContentPartPr/>
                <p14:nvPr/>
              </p14:nvContentPartPr>
              <p14:xfrm>
                <a:off x="4335257" y="277046"/>
                <a:ext cx="85320" cy="13032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B7AA9838-CF11-4A94-8FB2-8F5B8F06E0A1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4330937" y="272726"/>
                  <a:ext cx="93960" cy="13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1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27C8B9C1-986E-46B5-BABE-ACF0B2022593}"/>
                    </a:ext>
                  </a:extLst>
                </p14:cNvPr>
                <p14:cNvContentPartPr/>
                <p14:nvPr/>
              </p14:nvContentPartPr>
              <p14:xfrm>
                <a:off x="4460897" y="251846"/>
                <a:ext cx="192240" cy="16884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27C8B9C1-986E-46B5-BABE-ACF0B2022593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4456577" y="247526"/>
                  <a:ext cx="200880" cy="17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3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64BBFAF9-09A0-41A6-BA9D-5BD166A5ABF5}"/>
                    </a:ext>
                  </a:extLst>
                </p14:cNvPr>
                <p14:cNvContentPartPr/>
                <p14:nvPr/>
              </p14:nvContentPartPr>
              <p14:xfrm>
                <a:off x="2048177" y="575126"/>
                <a:ext cx="107640" cy="36252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64BBFAF9-09A0-41A6-BA9D-5BD166A5ABF5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2043857" y="570806"/>
                  <a:ext cx="116280" cy="37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5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5731B396-14AB-4175-B434-9849A40B7F0F}"/>
                    </a:ext>
                  </a:extLst>
                </p14:cNvPr>
                <p14:cNvContentPartPr/>
                <p14:nvPr/>
              </p14:nvContentPartPr>
              <p14:xfrm>
                <a:off x="1988417" y="753326"/>
                <a:ext cx="144000" cy="2628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5731B396-14AB-4175-B434-9849A40B7F0F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984097" y="749006"/>
                  <a:ext cx="152640" cy="3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7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CA5A62DA-2DAA-4D6F-9A6A-C7DDBF102A05}"/>
                    </a:ext>
                  </a:extLst>
                </p14:cNvPr>
                <p14:cNvContentPartPr/>
                <p14:nvPr/>
              </p14:nvContentPartPr>
              <p14:xfrm>
                <a:off x="2167697" y="674126"/>
                <a:ext cx="220680" cy="15084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CA5A62DA-2DAA-4D6F-9A6A-C7DDBF102A05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2163377" y="669806"/>
                  <a:ext cx="229320" cy="159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9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6B05243E-277B-4A14-92E4-E43949E82544}"/>
                    </a:ext>
                  </a:extLst>
                </p14:cNvPr>
                <p14:cNvContentPartPr/>
                <p14:nvPr/>
              </p14:nvContentPartPr>
              <p14:xfrm>
                <a:off x="2542097" y="623726"/>
                <a:ext cx="153000" cy="17064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6B05243E-277B-4A14-92E4-E43949E82544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2537777" y="619406"/>
                  <a:ext cx="161640" cy="17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1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B294AB28-79B6-431C-B29B-45BE1509D697}"/>
                    </a:ext>
                  </a:extLst>
                </p14:cNvPr>
                <p14:cNvContentPartPr/>
                <p14:nvPr/>
              </p14:nvContentPartPr>
              <p14:xfrm>
                <a:off x="2743697" y="566126"/>
                <a:ext cx="21600" cy="19584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B294AB28-79B6-431C-B29B-45BE1509D697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2739377" y="561806"/>
                  <a:ext cx="30240" cy="204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3">
              <p14:nvContentPartPr>
                <p14:cNvPr id="44" name="Ink 43">
                  <a:extLst>
                    <a:ext uri="{FF2B5EF4-FFF2-40B4-BE49-F238E27FC236}">
                      <a16:creationId xmlns:a16="http://schemas.microsoft.com/office/drawing/2014/main" id="{B8C8F93D-6311-4F0D-A999-3CE8853B578F}"/>
                    </a:ext>
                  </a:extLst>
                </p14:cNvPr>
                <p14:cNvContentPartPr/>
                <p14:nvPr/>
              </p14:nvContentPartPr>
              <p14:xfrm>
                <a:off x="2541737" y="565406"/>
                <a:ext cx="520920" cy="278640"/>
              </p14:xfrm>
            </p:contentPart>
          </mc:Choice>
          <mc:Fallback>
            <p:pic>
              <p:nvPicPr>
                <p:cNvPr id="44" name="Ink 43">
                  <a:extLst>
                    <a:ext uri="{FF2B5EF4-FFF2-40B4-BE49-F238E27FC236}">
                      <a16:creationId xmlns:a16="http://schemas.microsoft.com/office/drawing/2014/main" id="{B8C8F93D-6311-4F0D-A999-3CE8853B578F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2537417" y="561086"/>
                  <a:ext cx="529560" cy="28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5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84F85A1C-FE33-460D-872A-DC57BA757A3B}"/>
                    </a:ext>
                  </a:extLst>
                </p14:cNvPr>
                <p14:cNvContentPartPr/>
                <p14:nvPr/>
              </p14:nvContentPartPr>
              <p14:xfrm>
                <a:off x="3175697" y="637046"/>
                <a:ext cx="109800" cy="29592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84F85A1C-FE33-460D-872A-DC57BA757A3B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3171377" y="632726"/>
                  <a:ext cx="118440" cy="304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7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315B9113-D822-4C14-B8D8-9E2213639340}"/>
                    </a:ext>
                  </a:extLst>
                </p14:cNvPr>
                <p14:cNvContentPartPr/>
                <p14:nvPr/>
              </p14:nvContentPartPr>
              <p14:xfrm>
                <a:off x="3327977" y="665486"/>
                <a:ext cx="131760" cy="13140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315B9113-D822-4C14-B8D8-9E2213639340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3323657" y="661166"/>
                  <a:ext cx="140400" cy="14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9">
              <p14:nvContentPartPr>
                <p14:cNvPr id="47" name="Ink 46">
                  <a:extLst>
                    <a:ext uri="{FF2B5EF4-FFF2-40B4-BE49-F238E27FC236}">
                      <a16:creationId xmlns:a16="http://schemas.microsoft.com/office/drawing/2014/main" id="{862B892D-BBF7-4609-B234-47E299E09F2D}"/>
                    </a:ext>
                  </a:extLst>
                </p14:cNvPr>
                <p14:cNvContentPartPr/>
                <p14:nvPr/>
              </p14:nvContentPartPr>
              <p14:xfrm>
                <a:off x="3508697" y="666206"/>
                <a:ext cx="253440" cy="341640"/>
              </p14:xfrm>
            </p:contentPart>
          </mc:Choice>
          <mc:Fallback>
            <p:pic>
              <p:nvPicPr>
                <p:cNvPr id="47" name="Ink 46">
                  <a:extLst>
                    <a:ext uri="{FF2B5EF4-FFF2-40B4-BE49-F238E27FC236}">
                      <a16:creationId xmlns:a16="http://schemas.microsoft.com/office/drawing/2014/main" id="{862B892D-BBF7-4609-B234-47E299E09F2D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3504377" y="661886"/>
                  <a:ext cx="262080" cy="35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1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1124594D-0A88-4249-AC33-E76C6F2AD6B0}"/>
                    </a:ext>
                  </a:extLst>
                </p14:cNvPr>
                <p14:cNvContentPartPr/>
                <p14:nvPr/>
              </p14:nvContentPartPr>
              <p14:xfrm>
                <a:off x="3764657" y="660806"/>
                <a:ext cx="86760" cy="156240"/>
              </p14:xfrm>
            </p:contentPart>
          </mc:Choice>
          <mc:Fallback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1124594D-0A88-4249-AC33-E76C6F2AD6B0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3760337" y="656486"/>
                  <a:ext cx="95400" cy="164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83">
            <p14:nvContentPartPr>
              <p14:cNvPr id="50" name="Ink 49">
                <a:extLst>
                  <a:ext uri="{FF2B5EF4-FFF2-40B4-BE49-F238E27FC236}">
                    <a16:creationId xmlns:a16="http://schemas.microsoft.com/office/drawing/2014/main" id="{E1FE2A1F-1949-4E6A-A026-EFBD58D90033}"/>
                  </a:ext>
                </a:extLst>
              </p14:cNvPr>
              <p14:cNvContentPartPr/>
              <p14:nvPr/>
            </p14:nvContentPartPr>
            <p14:xfrm>
              <a:off x="1764857" y="2924126"/>
              <a:ext cx="1064880" cy="1878120"/>
            </p14:xfrm>
          </p:contentPart>
        </mc:Choice>
        <mc:Fallback>
          <p:pic>
            <p:nvPicPr>
              <p:cNvPr id="50" name="Ink 49">
                <a:extLst>
                  <a:ext uri="{FF2B5EF4-FFF2-40B4-BE49-F238E27FC236}">
                    <a16:creationId xmlns:a16="http://schemas.microsoft.com/office/drawing/2014/main" id="{E1FE2A1F-1949-4E6A-A026-EFBD58D90033}"/>
                  </a:ext>
                </a:extLst>
              </p:cNvPr>
              <p:cNvPicPr/>
              <p:nvPr/>
            </p:nvPicPr>
            <p:blipFill>
              <a:blip r:embed="rId84"/>
              <a:stretch>
                <a:fillRect/>
              </a:stretch>
            </p:blipFill>
            <p:spPr>
              <a:xfrm>
                <a:off x="1760537" y="2919806"/>
                <a:ext cx="1073520" cy="1886760"/>
              </a:xfrm>
              <a:prstGeom prst="rect">
                <a:avLst/>
              </a:prstGeom>
            </p:spPr>
          </p:pic>
        </mc:Fallback>
      </mc:AlternateContent>
      <p:sp>
        <p:nvSpPr>
          <p:cNvPr id="51" name="TextBox 50">
            <a:extLst>
              <a:ext uri="{FF2B5EF4-FFF2-40B4-BE49-F238E27FC236}">
                <a16:creationId xmlns:a16="http://schemas.microsoft.com/office/drawing/2014/main" id="{46125C00-EC9D-43F7-9026-36E3BBF4CE9E}"/>
              </a:ext>
            </a:extLst>
          </p:cNvPr>
          <p:cNvSpPr txBox="1"/>
          <p:nvPr/>
        </p:nvSpPr>
        <p:spPr>
          <a:xfrm>
            <a:off x="1109857" y="5257311"/>
            <a:ext cx="4064000" cy="8156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e-DE" i="1" dirty="0"/>
              <a:t>Add:</a:t>
            </a:r>
          </a:p>
          <a:p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endParaRPr lang="de-DE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85">
            <p14:nvContentPartPr>
              <p14:cNvPr id="52" name="Ink 51">
                <a:extLst>
                  <a:ext uri="{FF2B5EF4-FFF2-40B4-BE49-F238E27FC236}">
                    <a16:creationId xmlns:a16="http://schemas.microsoft.com/office/drawing/2014/main" id="{4F8FCC46-B241-4865-8C38-3DD901C93EAD}"/>
                  </a:ext>
                </a:extLst>
              </p14:cNvPr>
              <p14:cNvContentPartPr/>
              <p14:nvPr/>
            </p14:nvContentPartPr>
            <p14:xfrm>
              <a:off x="2577017" y="2883806"/>
              <a:ext cx="407880" cy="226440"/>
            </p14:xfrm>
          </p:contentPart>
        </mc:Choice>
        <mc:Fallback>
          <p:pic>
            <p:nvPicPr>
              <p:cNvPr id="52" name="Ink 51">
                <a:extLst>
                  <a:ext uri="{FF2B5EF4-FFF2-40B4-BE49-F238E27FC236}">
                    <a16:creationId xmlns:a16="http://schemas.microsoft.com/office/drawing/2014/main" id="{4F8FCC46-B241-4865-8C38-3DD901C93EAD}"/>
                  </a:ext>
                </a:extLst>
              </p:cNvPr>
              <p:cNvPicPr/>
              <p:nvPr/>
            </p:nvPicPr>
            <p:blipFill>
              <a:blip r:embed="rId86"/>
              <a:stretch>
                <a:fillRect/>
              </a:stretch>
            </p:blipFill>
            <p:spPr>
              <a:xfrm>
                <a:off x="2572697" y="2879486"/>
                <a:ext cx="416520" cy="235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6082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>
            <a:extLst>
              <a:ext uri="{FF2B5EF4-FFF2-40B4-BE49-F238E27FC236}">
                <a16:creationId xmlns:a16="http://schemas.microsoft.com/office/drawing/2014/main" id="{E4400070-1D6F-41CC-979F-B17E10484B6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8A99465D-F985-4591-B301-D7D15550F5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2ED64C-3BAB-4680-B1AA-6DEAC2CA856E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DCE23B-2ADB-496F-9CA1-C911FF2B94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297" y="1706563"/>
            <a:ext cx="10267406" cy="3522708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FA978F52-153C-4F0F-8EB0-5C476280A200}"/>
              </a:ext>
            </a:extLst>
          </p:cNvPr>
          <p:cNvGrpSpPr/>
          <p:nvPr/>
        </p:nvGrpSpPr>
        <p:grpSpPr>
          <a:xfrm>
            <a:off x="5806217" y="1259846"/>
            <a:ext cx="1854720" cy="1145880"/>
            <a:chOff x="5806217" y="1259846"/>
            <a:chExt cx="1854720" cy="1145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1038400B-D022-4A3E-A53C-A2A4917AB81C}"/>
                    </a:ext>
                  </a:extLst>
                </p14:cNvPr>
                <p14:cNvContentPartPr/>
                <p14:nvPr/>
              </p14:nvContentPartPr>
              <p14:xfrm>
                <a:off x="5806217" y="1915046"/>
                <a:ext cx="530640" cy="49068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1038400B-D022-4A3E-A53C-A2A4917AB81C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801897" y="1910726"/>
                  <a:ext cx="539280" cy="49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F2B3AC1D-1136-4796-9965-B0EE316D4F7B}"/>
                    </a:ext>
                  </a:extLst>
                </p14:cNvPr>
                <p14:cNvContentPartPr/>
                <p14:nvPr/>
              </p14:nvContentPartPr>
              <p14:xfrm>
                <a:off x="6198977" y="1439126"/>
                <a:ext cx="439920" cy="63144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F2B3AC1D-1136-4796-9965-B0EE316D4F7B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194657" y="1434806"/>
                  <a:ext cx="448560" cy="64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60EAD214-A163-4129-9F55-CC0F1A2DF559}"/>
                    </a:ext>
                  </a:extLst>
                </p14:cNvPr>
                <p14:cNvContentPartPr/>
                <p14:nvPr/>
              </p14:nvContentPartPr>
              <p14:xfrm>
                <a:off x="6711617" y="1354886"/>
                <a:ext cx="11880" cy="15588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60EAD214-A163-4129-9F55-CC0F1A2DF559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6707297" y="1350566"/>
                  <a:ext cx="20520" cy="16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9" name="Ink 8">
                  <a:extLst>
                    <a:ext uri="{FF2B5EF4-FFF2-40B4-BE49-F238E27FC236}">
                      <a16:creationId xmlns:a16="http://schemas.microsoft.com/office/drawing/2014/main" id="{668DC80F-7787-4E77-AFD4-C9A62D6927C3}"/>
                    </a:ext>
                  </a:extLst>
                </p14:cNvPr>
                <p14:cNvContentPartPr/>
                <p14:nvPr/>
              </p14:nvContentPartPr>
              <p14:xfrm>
                <a:off x="6630257" y="1259846"/>
                <a:ext cx="202320" cy="234360"/>
              </p14:xfrm>
            </p:contentPart>
          </mc:Choice>
          <mc:Fallback>
            <p:pic>
              <p:nvPicPr>
                <p:cNvPr id="9" name="Ink 8">
                  <a:extLst>
                    <a:ext uri="{FF2B5EF4-FFF2-40B4-BE49-F238E27FC236}">
                      <a16:creationId xmlns:a16="http://schemas.microsoft.com/office/drawing/2014/main" id="{668DC80F-7787-4E77-AFD4-C9A62D6927C3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625937" y="1255526"/>
                  <a:ext cx="210960" cy="24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C4F51F29-F505-4095-9A65-D9C1945DDEC1}"/>
                    </a:ext>
                  </a:extLst>
                </p14:cNvPr>
                <p14:cNvContentPartPr/>
                <p14:nvPr/>
              </p14:nvContentPartPr>
              <p14:xfrm>
                <a:off x="6825377" y="1355606"/>
                <a:ext cx="371520" cy="10044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C4F51F29-F505-4095-9A65-D9C1945DDEC1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6821057" y="1351286"/>
                  <a:ext cx="380160" cy="10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CA0BE31D-3C80-4975-A660-2CE993054DF6}"/>
                    </a:ext>
                  </a:extLst>
                </p14:cNvPr>
                <p14:cNvContentPartPr/>
                <p14:nvPr/>
              </p14:nvContentPartPr>
              <p14:xfrm>
                <a:off x="7211297" y="1343006"/>
                <a:ext cx="92520" cy="10980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CA0BE31D-3C80-4975-A660-2CE993054DF6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206977" y="1338686"/>
                  <a:ext cx="101160" cy="118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49EB21E4-E178-49D4-83A9-0CC51A23B0D7}"/>
                    </a:ext>
                  </a:extLst>
                </p14:cNvPr>
                <p14:cNvContentPartPr/>
                <p14:nvPr/>
              </p14:nvContentPartPr>
              <p14:xfrm>
                <a:off x="7350617" y="1349486"/>
                <a:ext cx="145800" cy="10656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49EB21E4-E178-49D4-83A9-0CC51A23B0D7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7346297" y="1345166"/>
                  <a:ext cx="154440" cy="11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11116A8C-9588-49A3-B5F1-89ED6D668BAA}"/>
                    </a:ext>
                  </a:extLst>
                </p14:cNvPr>
                <p14:cNvContentPartPr/>
                <p14:nvPr/>
              </p14:nvContentPartPr>
              <p14:xfrm>
                <a:off x="7495337" y="1342646"/>
                <a:ext cx="165600" cy="13572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11116A8C-9588-49A3-B5F1-89ED6D668BAA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7491017" y="1338326"/>
                  <a:ext cx="174240" cy="1443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1D03125A-5E57-4667-ACED-7332F14A7B9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190497" y="3343416"/>
            <a:ext cx="3300017" cy="75941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23">
            <p14:nvContentPartPr>
              <p14:cNvPr id="38" name="Ink 37">
                <a:extLst>
                  <a:ext uri="{FF2B5EF4-FFF2-40B4-BE49-F238E27FC236}">
                    <a16:creationId xmlns:a16="http://schemas.microsoft.com/office/drawing/2014/main" id="{235ADE78-5C3F-4FEA-BA23-1C2FBB7FFF4F}"/>
                  </a:ext>
                </a:extLst>
              </p14:cNvPr>
              <p14:cNvContentPartPr/>
              <p14:nvPr/>
            </p14:nvContentPartPr>
            <p14:xfrm>
              <a:off x="5086937" y="3863726"/>
              <a:ext cx="2091960" cy="84240"/>
            </p14:xfrm>
          </p:contentPart>
        </mc:Choice>
        <mc:Fallback>
          <p:pic>
            <p:nvPicPr>
              <p:cNvPr id="38" name="Ink 37">
                <a:extLst>
                  <a:ext uri="{FF2B5EF4-FFF2-40B4-BE49-F238E27FC236}">
                    <a16:creationId xmlns:a16="http://schemas.microsoft.com/office/drawing/2014/main" id="{235ADE78-5C3F-4FEA-BA23-1C2FBB7FFF4F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082617" y="3859406"/>
                <a:ext cx="2100600" cy="92880"/>
              </a:xfrm>
              <a:prstGeom prst="rect">
                <a:avLst/>
              </a:prstGeom>
            </p:spPr>
          </p:pic>
        </mc:Fallback>
      </mc:AlternateContent>
      <p:grpSp>
        <p:nvGrpSpPr>
          <p:cNvPr id="40" name="Group 39">
            <a:extLst>
              <a:ext uri="{FF2B5EF4-FFF2-40B4-BE49-F238E27FC236}">
                <a16:creationId xmlns:a16="http://schemas.microsoft.com/office/drawing/2014/main" id="{A7982C7F-3707-4F2F-BD78-62FEB21C9037}"/>
              </a:ext>
            </a:extLst>
          </p:cNvPr>
          <p:cNvGrpSpPr/>
          <p:nvPr/>
        </p:nvGrpSpPr>
        <p:grpSpPr>
          <a:xfrm>
            <a:off x="5807657" y="2566286"/>
            <a:ext cx="4718880" cy="808920"/>
            <a:chOff x="5807657" y="2566286"/>
            <a:chExt cx="4718880" cy="808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F8EDD070-8EEE-4F6C-A66B-4DD28DCD5D88}"/>
                    </a:ext>
                  </a:extLst>
                </p14:cNvPr>
                <p14:cNvContentPartPr/>
                <p14:nvPr/>
              </p14:nvContentPartPr>
              <p14:xfrm>
                <a:off x="6164057" y="2908646"/>
                <a:ext cx="1387440" cy="19152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F8EDD070-8EEE-4F6C-A66B-4DD28DCD5D88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6159737" y="2904326"/>
                  <a:ext cx="1396080" cy="20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6F271293-FF53-4D9E-9735-B96AA8835E91}"/>
                    </a:ext>
                  </a:extLst>
                </p14:cNvPr>
                <p14:cNvContentPartPr/>
                <p14:nvPr/>
              </p14:nvContentPartPr>
              <p14:xfrm>
                <a:off x="6146777" y="2913326"/>
                <a:ext cx="262800" cy="24336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6F271293-FF53-4D9E-9735-B96AA8835E9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6142457" y="2909006"/>
                  <a:ext cx="271440" cy="25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83FD12E8-3890-4927-89BC-085B4A5CDBC2}"/>
                    </a:ext>
                  </a:extLst>
                </p14:cNvPr>
                <p14:cNvContentPartPr/>
                <p14:nvPr/>
              </p14:nvContentPartPr>
              <p14:xfrm>
                <a:off x="7641857" y="2673566"/>
                <a:ext cx="160200" cy="32904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83FD12E8-3890-4927-89BC-085B4A5CDBC2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7637537" y="2669246"/>
                  <a:ext cx="168840" cy="33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D6C00F13-A518-409B-94A8-1EE2EEAB888E}"/>
                    </a:ext>
                  </a:extLst>
                </p14:cNvPr>
                <p14:cNvContentPartPr/>
                <p14:nvPr/>
              </p14:nvContentPartPr>
              <p14:xfrm>
                <a:off x="7836977" y="2655926"/>
                <a:ext cx="136800" cy="31464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D6C00F13-A518-409B-94A8-1EE2EEAB888E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7832657" y="2651606"/>
                  <a:ext cx="145440" cy="32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0" name="Ink 19">
                  <a:extLst>
                    <a:ext uri="{FF2B5EF4-FFF2-40B4-BE49-F238E27FC236}">
                      <a16:creationId xmlns:a16="http://schemas.microsoft.com/office/drawing/2014/main" id="{063AC0C0-AB07-49D5-9311-37C72F02CDFF}"/>
                    </a:ext>
                  </a:extLst>
                </p14:cNvPr>
                <p14:cNvContentPartPr/>
                <p14:nvPr/>
              </p14:nvContentPartPr>
              <p14:xfrm>
                <a:off x="8004377" y="2788406"/>
                <a:ext cx="593640" cy="389880"/>
              </p14:xfrm>
            </p:contentPart>
          </mc:Choice>
          <mc:Fallback>
            <p:pic>
              <p:nvPicPr>
                <p:cNvPr id="20" name="Ink 19">
                  <a:extLst>
                    <a:ext uri="{FF2B5EF4-FFF2-40B4-BE49-F238E27FC236}">
                      <a16:creationId xmlns:a16="http://schemas.microsoft.com/office/drawing/2014/main" id="{063AC0C0-AB07-49D5-9311-37C72F02CDFF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8000057" y="2784086"/>
                  <a:ext cx="602280" cy="39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2964438F-E2AC-416E-8BF2-2E9A2F2E80D1}"/>
                    </a:ext>
                  </a:extLst>
                </p14:cNvPr>
                <p14:cNvContentPartPr/>
                <p14:nvPr/>
              </p14:nvContentPartPr>
              <p14:xfrm>
                <a:off x="8810777" y="2631446"/>
                <a:ext cx="31680" cy="28728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2964438F-E2AC-416E-8BF2-2E9A2F2E80D1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8806457" y="2627126"/>
                  <a:ext cx="40320" cy="29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6B09FEDD-D03F-490D-A2FD-274F380D7E10}"/>
                    </a:ext>
                  </a:extLst>
                </p14:cNvPr>
                <p14:cNvContentPartPr/>
                <p14:nvPr/>
              </p14:nvContentPartPr>
              <p14:xfrm>
                <a:off x="8883137" y="2758166"/>
                <a:ext cx="91440" cy="15696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6B09FEDD-D03F-490D-A2FD-274F380D7E10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8878817" y="2753846"/>
                  <a:ext cx="10008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3" name="Ink 22">
                  <a:extLst>
                    <a:ext uri="{FF2B5EF4-FFF2-40B4-BE49-F238E27FC236}">
                      <a16:creationId xmlns:a16="http://schemas.microsoft.com/office/drawing/2014/main" id="{017843DB-9382-40BF-8CE8-E29624CF2E58}"/>
                    </a:ext>
                  </a:extLst>
                </p14:cNvPr>
                <p14:cNvContentPartPr/>
                <p14:nvPr/>
              </p14:nvContentPartPr>
              <p14:xfrm>
                <a:off x="9004817" y="2782286"/>
                <a:ext cx="117720" cy="387720"/>
              </p14:xfrm>
            </p:contentPart>
          </mc:Choice>
          <mc:Fallback>
            <p:pic>
              <p:nvPicPr>
                <p:cNvPr id="23" name="Ink 22">
                  <a:extLst>
                    <a:ext uri="{FF2B5EF4-FFF2-40B4-BE49-F238E27FC236}">
                      <a16:creationId xmlns:a16="http://schemas.microsoft.com/office/drawing/2014/main" id="{017843DB-9382-40BF-8CE8-E29624CF2E58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9000497" y="2777966"/>
                  <a:ext cx="126360" cy="39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65094BCC-492D-4CD6-83A1-7F30483D294F}"/>
                    </a:ext>
                  </a:extLst>
                </p14:cNvPr>
                <p14:cNvContentPartPr/>
                <p14:nvPr/>
              </p14:nvContentPartPr>
              <p14:xfrm>
                <a:off x="9166817" y="2799926"/>
                <a:ext cx="75240" cy="12060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65094BCC-492D-4CD6-83A1-7F30483D294F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9162497" y="2795606"/>
                  <a:ext cx="83880" cy="129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985171BD-A45E-4922-B139-481739487042}"/>
                    </a:ext>
                  </a:extLst>
                </p14:cNvPr>
                <p14:cNvContentPartPr/>
                <p14:nvPr/>
              </p14:nvContentPartPr>
              <p14:xfrm>
                <a:off x="9438977" y="2570606"/>
                <a:ext cx="196560" cy="34128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985171BD-A45E-4922-B139-481739487042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9434657" y="2566286"/>
                  <a:ext cx="205200" cy="34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27" name="Ink 26">
                  <a:extLst>
                    <a:ext uri="{FF2B5EF4-FFF2-40B4-BE49-F238E27FC236}">
                      <a16:creationId xmlns:a16="http://schemas.microsoft.com/office/drawing/2014/main" id="{B3ED893B-E2E9-4D4E-966F-59CD7E512B42}"/>
                    </a:ext>
                  </a:extLst>
                </p14:cNvPr>
                <p14:cNvContentPartPr/>
                <p14:nvPr/>
              </p14:nvContentPartPr>
              <p14:xfrm>
                <a:off x="9623297" y="2762126"/>
                <a:ext cx="100800" cy="123120"/>
              </p14:xfrm>
            </p:contentPart>
          </mc:Choice>
          <mc:Fallback>
            <p:pic>
              <p:nvPicPr>
                <p:cNvPr id="27" name="Ink 26">
                  <a:extLst>
                    <a:ext uri="{FF2B5EF4-FFF2-40B4-BE49-F238E27FC236}">
                      <a16:creationId xmlns:a16="http://schemas.microsoft.com/office/drawing/2014/main" id="{B3ED893B-E2E9-4D4E-966F-59CD7E512B42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9618977" y="2757806"/>
                  <a:ext cx="109440" cy="13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933E399F-87E9-4988-A2B9-6BE4B55EE04A}"/>
                    </a:ext>
                  </a:extLst>
                </p14:cNvPr>
                <p14:cNvContentPartPr/>
                <p14:nvPr/>
              </p14:nvContentPartPr>
              <p14:xfrm>
                <a:off x="9956657" y="2566286"/>
                <a:ext cx="62640" cy="31104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933E399F-87E9-4988-A2B9-6BE4B55EE04A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9952337" y="2561966"/>
                  <a:ext cx="71280" cy="31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C64F5658-F818-42F9-B745-80294C30B27C}"/>
                    </a:ext>
                  </a:extLst>
                </p14:cNvPr>
                <p14:cNvContentPartPr/>
                <p14:nvPr/>
              </p14:nvContentPartPr>
              <p14:xfrm>
                <a:off x="9876737" y="2585006"/>
                <a:ext cx="363960" cy="26352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C64F5658-F818-42F9-B745-80294C30B27C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9872417" y="2580686"/>
                  <a:ext cx="37260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35" name="Ink 34">
                  <a:extLst>
                    <a:ext uri="{FF2B5EF4-FFF2-40B4-BE49-F238E27FC236}">
                      <a16:creationId xmlns:a16="http://schemas.microsoft.com/office/drawing/2014/main" id="{61DA5ACA-B973-4935-9910-F71678E282EB}"/>
                    </a:ext>
                  </a:extLst>
                </p14:cNvPr>
                <p14:cNvContentPartPr/>
                <p14:nvPr/>
              </p14:nvContentPartPr>
              <p14:xfrm>
                <a:off x="10265177" y="2646566"/>
                <a:ext cx="77760" cy="234000"/>
              </p14:xfrm>
            </p:contentPart>
          </mc:Choice>
          <mc:Fallback>
            <p:pic>
              <p:nvPicPr>
                <p:cNvPr id="35" name="Ink 34">
                  <a:extLst>
                    <a:ext uri="{FF2B5EF4-FFF2-40B4-BE49-F238E27FC236}">
                      <a16:creationId xmlns:a16="http://schemas.microsoft.com/office/drawing/2014/main" id="{61DA5ACA-B973-4935-9910-F71678E282EB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10260857" y="2642246"/>
                  <a:ext cx="86400" cy="242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36" name="Ink 35">
                  <a:extLst>
                    <a:ext uri="{FF2B5EF4-FFF2-40B4-BE49-F238E27FC236}">
                      <a16:creationId xmlns:a16="http://schemas.microsoft.com/office/drawing/2014/main" id="{25979158-D353-4DEC-92BD-07941D8E34BB}"/>
                    </a:ext>
                  </a:extLst>
                </p14:cNvPr>
                <p14:cNvContentPartPr/>
                <p14:nvPr/>
              </p14:nvContentPartPr>
              <p14:xfrm>
                <a:off x="10501337" y="2752406"/>
                <a:ext cx="25200" cy="90720"/>
              </p14:xfrm>
            </p:contentPart>
          </mc:Choice>
          <mc:Fallback>
            <p:pic>
              <p:nvPicPr>
                <p:cNvPr id="36" name="Ink 35">
                  <a:extLst>
                    <a:ext uri="{FF2B5EF4-FFF2-40B4-BE49-F238E27FC236}">
                      <a16:creationId xmlns:a16="http://schemas.microsoft.com/office/drawing/2014/main" id="{25979158-D353-4DEC-92BD-07941D8E34BB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10497017" y="2748086"/>
                  <a:ext cx="33840" cy="9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1E0CD208-3656-4371-B7CA-A2B63B60504C}"/>
                    </a:ext>
                  </a:extLst>
                </p14:cNvPr>
                <p14:cNvContentPartPr/>
                <p14:nvPr/>
              </p14:nvContentPartPr>
              <p14:xfrm>
                <a:off x="5807657" y="2807486"/>
                <a:ext cx="474480" cy="56772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1E0CD208-3656-4371-B7CA-A2B63B60504C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5803337" y="2803166"/>
                  <a:ext cx="483120" cy="57636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713746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8-06 08:53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G.Nan_h2BhijW1ZjvRd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0</TotalTime>
  <Words>12</Words>
  <Application>Microsoft Office PowerPoint</Application>
  <PresentationFormat>Widescreen</PresentationFormat>
  <Paragraphs>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imon Rübling</dc:creator>
  <cp:keywords/>
  <dc:description/>
  <cp:lastModifiedBy>Simon Rübling</cp:lastModifiedBy>
  <cp:revision>3</cp:revision>
  <cp:lastPrinted>2018-10-30T20:37:12Z</cp:lastPrinted>
  <dcterms:created xsi:type="dcterms:W3CDTF">2020-12-10T14:42:47Z</dcterms:created>
  <dcterms:modified xsi:type="dcterms:W3CDTF">2020-12-10T17:54:1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